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8" r:id="rId4"/>
    <p:sldMasterId id="2147483765" r:id="rId5"/>
  </p:sldMasterIdLst>
  <p:notesMasterIdLst>
    <p:notesMasterId r:id="rId18"/>
  </p:notesMasterIdLst>
  <p:handoutMasterIdLst>
    <p:handoutMasterId r:id="rId19"/>
  </p:handoutMasterIdLst>
  <p:sldIdLst>
    <p:sldId id="307" r:id="rId6"/>
    <p:sldId id="261" r:id="rId7"/>
    <p:sldId id="2147470344" r:id="rId8"/>
    <p:sldId id="2147470338" r:id="rId9"/>
    <p:sldId id="2147470347" r:id="rId10"/>
    <p:sldId id="2147470346" r:id="rId11"/>
    <p:sldId id="2147470342" r:id="rId12"/>
    <p:sldId id="2147470349" r:id="rId13"/>
    <p:sldId id="2147470348" r:id="rId14"/>
    <p:sldId id="2147470350" r:id="rId15"/>
    <p:sldId id="2147470345" r:id="rId16"/>
    <p:sldId id="893" r:id="rId17"/>
  </p:sldIdLst>
  <p:sldSz cx="12192000" cy="6858000"/>
  <p:notesSz cx="7099300" cy="102346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EB8E71"/>
    <a:srgbClr val="F19A69"/>
    <a:srgbClr val="F08200"/>
    <a:srgbClr val="EE9F86"/>
    <a:srgbClr val="FAE2DA"/>
    <a:srgbClr val="BE0A1E"/>
    <a:srgbClr val="666666"/>
    <a:srgbClr val="AA3287"/>
    <a:srgbClr val="50B4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82" d="100"/>
          <a:sy n="82" d="100"/>
        </p:scale>
        <p:origin x="720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DUET Line" userId="e03e611a-9b49-4b0d-9362-7e070ba56df2" providerId="ADAL" clId="{0535C0D6-DAD7-46F8-BD83-DB596157633F}"/>
    <pc:docChg chg="custSel modSld">
      <pc:chgData name="BADUET Line" userId="e03e611a-9b49-4b0d-9362-7e070ba56df2" providerId="ADAL" clId="{0535C0D6-DAD7-46F8-BD83-DB596157633F}" dt="2024-03-26T16:46:03.190" v="310" actId="20577"/>
      <pc:docMkLst>
        <pc:docMk/>
      </pc:docMkLst>
      <pc:sldChg chg="modSp mod">
        <pc:chgData name="BADUET Line" userId="e03e611a-9b49-4b0d-9362-7e070ba56df2" providerId="ADAL" clId="{0535C0D6-DAD7-46F8-BD83-DB596157633F}" dt="2024-03-26T16:46:03.190" v="310" actId="20577"/>
        <pc:sldMkLst>
          <pc:docMk/>
          <pc:sldMk cId="3675207035" sldId="2147470344"/>
        </pc:sldMkLst>
        <pc:spChg chg="mod">
          <ac:chgData name="BADUET Line" userId="e03e611a-9b49-4b0d-9362-7e070ba56df2" providerId="ADAL" clId="{0535C0D6-DAD7-46F8-BD83-DB596157633F}" dt="2024-03-26T16:46:03.190" v="310" actId="20577"/>
          <ac:spMkLst>
            <pc:docMk/>
            <pc:sldMk cId="3675207035" sldId="2147470344"/>
            <ac:spMk id="4" creationId="{EE895D49-5D2A-D416-A42B-246EBCDF487F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11456C-92D3-4954-8D19-3C3B6539CC17}" type="datetimeFigureOut">
              <a:rPr lang="fr-FR" smtClean="0"/>
              <a:t>26/03/202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3DED5C-F86D-4DEF-9780-43B6F88AFF9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583552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D4E8D2B0-3741-41F2-932C-7A90462748C6}" type="datetimeFigureOut">
              <a:rPr lang="fr-FR" smtClean="0"/>
              <a:t>26/03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709930" y="4925407"/>
            <a:ext cx="5679440" cy="4029879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19864846-B741-4A86-88FA-91E48B0A073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28794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864846-B741-4A86-88FA-91E48B0A073F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45794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E5C36E-7549-473F-8AB8-FDE5D2A2207A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08358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99E304-B61E-3D7F-DD83-FFCBE052FD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FB3F0296-9DDB-1D20-A32A-9D56F138CC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0BBC9D56-6DE7-F76A-DAE8-9C0C960CAD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562482A4-42C8-A368-0343-391118838D9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E5C36E-7549-473F-8AB8-FDE5D2A2207A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041741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3284A1-8AA0-901E-809A-463F482EA8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E618556D-73DA-12F6-C4AB-13D5A637D42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34F050E1-CEAC-D701-62C2-4232F2427E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5120E1B-408B-D80D-0209-71D96B6E0F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E5C36E-7549-473F-8AB8-FDE5D2A2207A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81810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E5C36E-7549-473F-8AB8-FDE5D2A2207A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446953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3CCE72-8A8D-7360-8BE0-101BB210D0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6BADDED5-83BC-B9FB-CD8E-41CFD05F32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0FB86E9F-FA45-A9C4-A9FD-14C9F6578F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9A647A2-491D-FD6C-D30F-15AE92A1E60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E5C36E-7549-473F-8AB8-FDE5D2A2207A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76847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46991B-B797-E1AA-DF88-EFC44D5D7F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19232BCD-C18F-2C4F-4D22-0BC80527EA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8C9998A3-C61F-522F-F1BC-A5AFE13189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5AC81C78-AF2E-2291-C722-6E4136CF3B4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E5C36E-7549-473F-8AB8-FDE5D2A2207A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90870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E5C36E-7549-473F-8AB8-FDE5D2A2207A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019133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XIS ALTERNATIVE GRAND TIT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Image 3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837274"/>
          </a:xfrm>
          <a:prstGeom prst="rect">
            <a:avLst/>
          </a:prstGeom>
        </p:spPr>
      </p:pic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66C75B1-59BA-4139-B6B8-B2D159B9FA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96000" y="2854050"/>
            <a:ext cx="9000000" cy="540000"/>
          </a:xfrm>
        </p:spPr>
        <p:txBody>
          <a:bodyPr anchor="ctr"/>
          <a:lstStyle>
            <a:lvl1pPr marL="0" indent="0" algn="ctr">
              <a:buNone/>
              <a:defRPr sz="3200" b="1" cap="all" baseline="0">
                <a:solidFill>
                  <a:schemeClr val="bg1"/>
                </a:solidFill>
              </a:defRPr>
            </a:lvl1pPr>
            <a:lvl2pPr marL="457200" indent="0" algn="r">
              <a:buNone/>
              <a:defRPr>
                <a:solidFill>
                  <a:schemeClr val="bg1"/>
                </a:solidFill>
              </a:defRPr>
            </a:lvl2pPr>
            <a:lvl3pPr marL="914400" indent="0" algn="r">
              <a:buNone/>
              <a:defRPr>
                <a:solidFill>
                  <a:schemeClr val="bg1"/>
                </a:solidFill>
              </a:defRPr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fr-FR"/>
              <a:t>TITRE PREMIER NIVEAU EN CAPITAL</a:t>
            </a:r>
          </a:p>
        </p:txBody>
      </p:sp>
      <p:pic>
        <p:nvPicPr>
          <p:cNvPr id="27" name="Image 25">
            <a:extLst>
              <a:ext uri="{FF2B5EF4-FFF2-40B4-BE49-F238E27FC236}">
                <a16:creationId xmlns:a16="http://schemas.microsoft.com/office/drawing/2014/main" id="{2E4C73CD-F40E-411C-9769-90E28DE846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7912" y="5927400"/>
            <a:ext cx="2525445" cy="808295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84D984FA-4E61-4CE3-B98F-02227AB979FA}"/>
              </a:ext>
            </a:extLst>
          </p:cNvPr>
          <p:cNvSpPr/>
          <p:nvPr userDrawn="1"/>
        </p:nvSpPr>
        <p:spPr>
          <a:xfrm>
            <a:off x="0" y="5837274"/>
            <a:ext cx="9449269" cy="1020726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4" name="Espace réservé du contenu 2"/>
          <p:cNvSpPr>
            <a:spLocks noGrp="1"/>
          </p:cNvSpPr>
          <p:nvPr>
            <p:ph idx="13" hasCustomPrompt="1"/>
          </p:nvPr>
        </p:nvSpPr>
        <p:spPr>
          <a:xfrm>
            <a:off x="224634" y="6077637"/>
            <a:ext cx="9000000" cy="5400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500"/>
              </a:spcBef>
              <a:buNone/>
              <a:defRPr lang="fr-FR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r">
              <a:lnSpc>
                <a:spcPct val="100000"/>
              </a:lnSpc>
              <a:spcBef>
                <a:spcPts val="500"/>
              </a:spcBef>
              <a:buClr>
                <a:srgbClr val="64328A"/>
              </a:buClr>
              <a:buFont typeface="Wingdings" panose="05000000000000000000" pitchFamily="2" charset="2"/>
              <a:buChar char="§"/>
              <a:defRPr sz="2000">
                <a:solidFill>
                  <a:schemeClr val="bg1"/>
                </a:solidFill>
              </a:defRPr>
            </a:lvl2pPr>
            <a:lvl3pPr marL="1143000" indent="-228600" algn="r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3pPr>
            <a:lvl4pPr marL="1600200" indent="-228600" algn="r">
              <a:lnSpc>
                <a:spcPct val="100000"/>
              </a:lnSpc>
              <a:spcBef>
                <a:spcPts val="500"/>
              </a:spcBef>
              <a:buClr>
                <a:srgbClr val="64328A"/>
              </a:buClr>
              <a:buFont typeface="Courier New" panose="02070309020205020404" pitchFamily="49" charset="0"/>
              <a:buChar char="o"/>
              <a:defRPr sz="2000">
                <a:solidFill>
                  <a:schemeClr val="bg1"/>
                </a:solidFill>
              </a:defRPr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Troisième niveau (nom du client, date </a:t>
            </a:r>
            <a:r>
              <a:rPr lang="fr-FR" err="1"/>
              <a:t>jj</a:t>
            </a:r>
            <a:r>
              <a:rPr lang="fr-FR"/>
              <a:t>/mm/</a:t>
            </a:r>
            <a:r>
              <a:rPr lang="fr-FR" err="1"/>
              <a:t>aaaa</a:t>
            </a:r>
            <a:r>
              <a:rPr lang="fr-FR"/>
              <a:t>) en corps 20</a:t>
            </a:r>
          </a:p>
          <a:p>
            <a:pPr lvl="0"/>
            <a:endParaRPr lang="fr-FR"/>
          </a:p>
          <a:p>
            <a:pPr lvl="0"/>
            <a:endParaRPr lang="fr-FR"/>
          </a:p>
        </p:txBody>
      </p:sp>
      <p:sp>
        <p:nvSpPr>
          <p:cNvPr id="35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596000" y="3464650"/>
            <a:ext cx="9000000" cy="54000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Deuxième niveau en minuscule et corps 24</a:t>
            </a:r>
          </a:p>
        </p:txBody>
      </p:sp>
    </p:spTree>
    <p:extLst>
      <p:ext uri="{BB962C8B-B14F-4D97-AF65-F5344CB8AC3E}">
        <p14:creationId xmlns:p14="http://schemas.microsoft.com/office/powerpoint/2010/main" val="3411774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0" userDrawn="1">
          <p15:clr>
            <a:srgbClr val="FBAE40"/>
          </p15:clr>
        </p15:guide>
        <p15:guide id="2" pos="16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AXIS ALTERNATIVE  Titre et contenu_tableau illustration 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8818DB09-196B-419D-B59A-9510E05B6B3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-274" y="860424"/>
            <a:ext cx="2879999" cy="5385569"/>
          </a:xfrm>
        </p:spPr>
        <p:txBody>
          <a:bodyPr anchor="ctr"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Image, illustration, </a:t>
            </a:r>
            <a:r>
              <a:rPr lang="en-US" err="1"/>
              <a:t>schéma</a:t>
            </a:r>
            <a:r>
              <a:rPr lang="en-US"/>
              <a:t>…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250096" y="949865"/>
            <a:ext cx="8171764" cy="4969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2400" i="1" kern="1200" dirty="0" smtClean="0">
                <a:solidFill>
                  <a:srgbClr val="F0820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1143000" indent="-228600">
              <a:buClr>
                <a:srgbClr val="ED6624"/>
              </a:buClr>
              <a:buFont typeface="Wingdings" panose="05000000000000000000" pitchFamily="2" charset="2"/>
              <a:buChar char="§"/>
              <a:defRPr/>
            </a:lvl3pPr>
            <a:lvl4pPr>
              <a:buClr>
                <a:schemeClr val="bg1">
                  <a:lumMod val="50000"/>
                </a:schemeClr>
              </a:buClr>
              <a:defRPr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Catch phras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838200" y="89451"/>
            <a:ext cx="10581860" cy="720000"/>
          </a:xfrm>
        </p:spPr>
        <p:txBody>
          <a:bodyPr anchor="b">
            <a:normAutofit/>
          </a:bodyPr>
          <a:lstStyle>
            <a:lvl1pPr>
              <a:defRPr sz="3200" b="0" cap="all" baseline="0">
                <a:latin typeface="+mn-lt"/>
              </a:defRPr>
            </a:lvl1pPr>
          </a:lstStyle>
          <a:p>
            <a:r>
              <a:rPr lang="fr-FR"/>
              <a:t>TITRE / MESSAGE (MAJ, ACCENTS, UNE SEULE LIGNE)</a:t>
            </a:r>
          </a:p>
        </p:txBody>
      </p:sp>
      <p:cxnSp>
        <p:nvCxnSpPr>
          <p:cNvPr id="9" name="Connecteur droit 8"/>
          <p:cNvCxnSpPr>
            <a:cxnSpLocks/>
          </p:cNvCxnSpPr>
          <p:nvPr userDrawn="1"/>
        </p:nvCxnSpPr>
        <p:spPr>
          <a:xfrm flipH="1">
            <a:off x="818147" y="860244"/>
            <a:ext cx="11373853" cy="0"/>
          </a:xfrm>
          <a:prstGeom prst="line">
            <a:avLst/>
          </a:prstGeom>
          <a:ln w="6350">
            <a:solidFill>
              <a:srgbClr val="F08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contenu 2"/>
          <p:cNvSpPr>
            <a:spLocks noGrp="1"/>
          </p:cNvSpPr>
          <p:nvPr>
            <p:ph idx="13" hasCustomPrompt="1"/>
          </p:nvPr>
        </p:nvSpPr>
        <p:spPr>
          <a:xfrm>
            <a:off x="3250096" y="1595361"/>
            <a:ext cx="8171764" cy="440239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F08200"/>
              </a:buClr>
              <a:buFont typeface="Wingdings" panose="05000000000000000000" pitchFamily="2" charset="2"/>
              <a:buChar char="§"/>
              <a:defRPr sz="1600"/>
            </a:lvl2pPr>
            <a:lvl3pPr marL="11430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Clr>
                <a:srgbClr val="F08200"/>
              </a:buClr>
              <a:buFont typeface="Courier New" panose="02070309020205020404" pitchFamily="49" charset="0"/>
              <a:buChar char="o"/>
              <a:defRPr sz="1600"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Premier niveau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0"/>
            <a:endParaRPr lang="fr-FR"/>
          </a:p>
          <a:p>
            <a:pPr lvl="0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D984FA-4E61-4CE3-B98F-02227AB979FA}"/>
              </a:ext>
            </a:extLst>
          </p:cNvPr>
          <p:cNvSpPr/>
          <p:nvPr userDrawn="1"/>
        </p:nvSpPr>
        <p:spPr>
          <a:xfrm>
            <a:off x="0" y="6246000"/>
            <a:ext cx="12192000" cy="612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0B405EDC-1E32-4B90-9CE5-392C8CD06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0061" y="6246000"/>
            <a:ext cx="771939" cy="612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317D9236-8631-4EC5-863A-395526DEF96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9" name="Image 27">
            <a:extLst>
              <a:ext uri="{FF2B5EF4-FFF2-40B4-BE49-F238E27FC236}">
                <a16:creationId xmlns:a16="http://schemas.microsoft.com/office/drawing/2014/main" id="{8FD07312-F352-41FF-A2AB-D9F36659D2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7200" y="6312339"/>
            <a:ext cx="1497600" cy="479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33649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AXIS ALTERNATIVE  Titre et contenu_tableau illustration 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8818DB09-196B-419D-B59A-9510E05B6B3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312001" y="860424"/>
            <a:ext cx="2879999" cy="5385569"/>
          </a:xfrm>
        </p:spPr>
        <p:txBody>
          <a:bodyPr anchor="ctr"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Image, illustration, </a:t>
            </a:r>
            <a:r>
              <a:rPr lang="en-US" err="1"/>
              <a:t>schéma</a:t>
            </a:r>
            <a:r>
              <a:rPr lang="en-US"/>
              <a:t>…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838200" y="949865"/>
            <a:ext cx="8171764" cy="4969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2400" i="1" kern="1200" dirty="0" smtClean="0">
                <a:solidFill>
                  <a:srgbClr val="F0820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1143000" indent="-228600">
              <a:buClr>
                <a:srgbClr val="ED6624"/>
              </a:buClr>
              <a:buFont typeface="Wingdings" panose="05000000000000000000" pitchFamily="2" charset="2"/>
              <a:buChar char="§"/>
              <a:defRPr/>
            </a:lvl3pPr>
            <a:lvl4pPr>
              <a:buClr>
                <a:schemeClr val="bg1">
                  <a:lumMod val="50000"/>
                </a:schemeClr>
              </a:buClr>
              <a:defRPr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Catch phras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838200" y="89451"/>
            <a:ext cx="10581860" cy="720000"/>
          </a:xfrm>
        </p:spPr>
        <p:txBody>
          <a:bodyPr anchor="b">
            <a:normAutofit/>
          </a:bodyPr>
          <a:lstStyle>
            <a:lvl1pPr>
              <a:defRPr sz="3200" b="0" cap="all" baseline="0">
                <a:latin typeface="+mn-lt"/>
              </a:defRPr>
            </a:lvl1pPr>
          </a:lstStyle>
          <a:p>
            <a:r>
              <a:rPr lang="fr-FR"/>
              <a:t>TITRE / MESSAGE (MAJ, ACCENTS, UNE SEULE LIGNE)</a:t>
            </a:r>
          </a:p>
        </p:txBody>
      </p:sp>
      <p:cxnSp>
        <p:nvCxnSpPr>
          <p:cNvPr id="9" name="Connecteur droit 8"/>
          <p:cNvCxnSpPr>
            <a:cxnSpLocks/>
          </p:cNvCxnSpPr>
          <p:nvPr userDrawn="1"/>
        </p:nvCxnSpPr>
        <p:spPr>
          <a:xfrm flipH="1">
            <a:off x="818147" y="860244"/>
            <a:ext cx="11373853" cy="0"/>
          </a:xfrm>
          <a:prstGeom prst="line">
            <a:avLst/>
          </a:prstGeom>
          <a:ln w="6350">
            <a:solidFill>
              <a:srgbClr val="F08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contenu 2"/>
          <p:cNvSpPr>
            <a:spLocks noGrp="1"/>
          </p:cNvSpPr>
          <p:nvPr>
            <p:ph idx="13" hasCustomPrompt="1"/>
          </p:nvPr>
        </p:nvSpPr>
        <p:spPr>
          <a:xfrm>
            <a:off x="838200" y="1595361"/>
            <a:ext cx="8171764" cy="440239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F08200"/>
              </a:buClr>
              <a:buFont typeface="Wingdings" panose="05000000000000000000" pitchFamily="2" charset="2"/>
              <a:buChar char="§"/>
              <a:defRPr sz="1600"/>
            </a:lvl2pPr>
            <a:lvl3pPr marL="11430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Clr>
                <a:srgbClr val="F08200"/>
              </a:buClr>
              <a:buFont typeface="Courier New" panose="02070309020205020404" pitchFamily="49" charset="0"/>
              <a:buChar char="o"/>
              <a:defRPr sz="1600"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Premier niveau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0"/>
            <a:endParaRPr lang="fr-FR"/>
          </a:p>
          <a:p>
            <a:pPr lvl="0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D984FA-4E61-4CE3-B98F-02227AB979FA}"/>
              </a:ext>
            </a:extLst>
          </p:cNvPr>
          <p:cNvSpPr/>
          <p:nvPr userDrawn="1"/>
        </p:nvSpPr>
        <p:spPr>
          <a:xfrm>
            <a:off x="0" y="6246000"/>
            <a:ext cx="12192000" cy="612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0B405EDC-1E32-4B90-9CE5-392C8CD06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0061" y="6246000"/>
            <a:ext cx="771939" cy="612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317D9236-8631-4EC5-863A-395526DEF96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9" name="Image 27">
            <a:extLst>
              <a:ext uri="{FF2B5EF4-FFF2-40B4-BE49-F238E27FC236}">
                <a16:creationId xmlns:a16="http://schemas.microsoft.com/office/drawing/2014/main" id="{8FD07312-F352-41FF-A2AB-D9F36659D2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7200" y="6312339"/>
            <a:ext cx="1497600" cy="479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7766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FORMITE Titre et contenu_2 colonnes avec illustration ou tableau a 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838200" y="949865"/>
            <a:ext cx="5040000" cy="4969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2400" i="1" kern="1200" dirty="0" smtClean="0">
                <a:solidFill>
                  <a:srgbClr val="BE0A1E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1143000" indent="-228600">
              <a:buClr>
                <a:srgbClr val="ED6624"/>
              </a:buClr>
              <a:buFont typeface="Wingdings" panose="05000000000000000000" pitchFamily="2" charset="2"/>
              <a:buChar char="§"/>
              <a:defRPr/>
            </a:lvl3pPr>
            <a:lvl4pPr>
              <a:buClr>
                <a:schemeClr val="bg1">
                  <a:lumMod val="50000"/>
                </a:schemeClr>
              </a:buClr>
              <a:defRPr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Catch phras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838200" y="89451"/>
            <a:ext cx="10581860" cy="720000"/>
          </a:xfrm>
        </p:spPr>
        <p:txBody>
          <a:bodyPr anchor="b">
            <a:normAutofit/>
          </a:bodyPr>
          <a:lstStyle>
            <a:lvl1pPr>
              <a:defRPr sz="3200" b="0" cap="all" baseline="0">
                <a:latin typeface="+mn-lt"/>
              </a:defRPr>
            </a:lvl1pPr>
          </a:lstStyle>
          <a:p>
            <a:r>
              <a:rPr lang="fr-FR"/>
              <a:t>TITRE / MESSAGE (MAJ, ACCENTS, UNE SEULE LIGNE)</a:t>
            </a:r>
          </a:p>
        </p:txBody>
      </p:sp>
      <p:cxnSp>
        <p:nvCxnSpPr>
          <p:cNvPr id="9" name="Connecteur droit 8"/>
          <p:cNvCxnSpPr>
            <a:cxnSpLocks/>
          </p:cNvCxnSpPr>
          <p:nvPr userDrawn="1"/>
        </p:nvCxnSpPr>
        <p:spPr>
          <a:xfrm flipH="1">
            <a:off x="818147" y="860244"/>
            <a:ext cx="11373853" cy="0"/>
          </a:xfrm>
          <a:prstGeom prst="line">
            <a:avLst/>
          </a:prstGeom>
          <a:ln w="6350">
            <a:solidFill>
              <a:srgbClr val="BE0A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contenu 2"/>
          <p:cNvSpPr>
            <a:spLocks noGrp="1"/>
          </p:cNvSpPr>
          <p:nvPr>
            <p:ph idx="13" hasCustomPrompt="1"/>
          </p:nvPr>
        </p:nvSpPr>
        <p:spPr>
          <a:xfrm>
            <a:off x="838199" y="1595361"/>
            <a:ext cx="5040000" cy="44023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64328A"/>
              </a:buClr>
              <a:buFont typeface="Wingdings" panose="05000000000000000000" pitchFamily="2" charset="2"/>
              <a:buChar char="§"/>
              <a:defRPr sz="1600"/>
            </a:lvl2pPr>
            <a:lvl3pPr marL="11430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Clr>
                <a:srgbClr val="64328A"/>
              </a:buClr>
              <a:buFont typeface="Courier New" panose="02070309020205020404" pitchFamily="49" charset="0"/>
              <a:buChar char="o"/>
              <a:defRPr sz="1600"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Illustration, schéma, tableau…</a:t>
            </a:r>
          </a:p>
        </p:txBody>
      </p:sp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id="{2FDD3211-3BD2-4F4F-ADF4-EC6EB3294293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380060" y="949865"/>
            <a:ext cx="5040000" cy="4969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2400" i="1" kern="1200" dirty="0" smtClean="0">
                <a:solidFill>
                  <a:srgbClr val="BE0A1E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1143000" indent="-228600">
              <a:buClr>
                <a:srgbClr val="ED6624"/>
              </a:buClr>
              <a:buFont typeface="Wingdings" panose="05000000000000000000" pitchFamily="2" charset="2"/>
              <a:buChar char="§"/>
              <a:defRPr/>
            </a:lvl3pPr>
            <a:lvl4pPr>
              <a:buClr>
                <a:schemeClr val="bg1">
                  <a:lumMod val="50000"/>
                </a:schemeClr>
              </a:buClr>
              <a:defRPr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Catch phrase</a:t>
            </a:r>
          </a:p>
        </p:txBody>
      </p:sp>
      <p:sp>
        <p:nvSpPr>
          <p:cNvPr id="11" name="Espace réservé du contenu 2">
            <a:extLst>
              <a:ext uri="{FF2B5EF4-FFF2-40B4-BE49-F238E27FC236}">
                <a16:creationId xmlns:a16="http://schemas.microsoft.com/office/drawing/2014/main" id="{56C8D7CE-7B84-43AB-BCA1-660958309FF3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80059" y="1595361"/>
            <a:ext cx="5040000" cy="440239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BE0A1E"/>
              </a:buClr>
              <a:buFont typeface="Wingdings" panose="05000000000000000000" pitchFamily="2" charset="2"/>
              <a:buChar char="§"/>
              <a:defRPr sz="1600"/>
            </a:lvl2pPr>
            <a:lvl3pPr marL="11430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Clr>
                <a:srgbClr val="BE0A1E"/>
              </a:buClr>
              <a:buFont typeface="Courier New" panose="02070309020205020404" pitchFamily="49" charset="0"/>
              <a:buChar char="o"/>
              <a:defRPr sz="1600"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Premier niveau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0"/>
            <a:endParaRPr lang="fr-FR"/>
          </a:p>
          <a:p>
            <a:pPr lvl="0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4D984FA-4E61-4CE3-B98F-02227AB979FA}"/>
              </a:ext>
            </a:extLst>
          </p:cNvPr>
          <p:cNvSpPr/>
          <p:nvPr userDrawn="1"/>
        </p:nvSpPr>
        <p:spPr>
          <a:xfrm>
            <a:off x="0" y="6246000"/>
            <a:ext cx="12192000" cy="612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0B405EDC-1E32-4B90-9CE5-392C8CD06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0061" y="6246000"/>
            <a:ext cx="771939" cy="612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317D9236-8631-4EC5-863A-395526DEF96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21" name="Image 27">
            <a:extLst>
              <a:ext uri="{FF2B5EF4-FFF2-40B4-BE49-F238E27FC236}">
                <a16:creationId xmlns:a16="http://schemas.microsoft.com/office/drawing/2014/main" id="{8FD07312-F352-41FF-A2AB-D9F36659D2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7200" y="6312339"/>
            <a:ext cx="1497600" cy="479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78077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FORMITE Titre et contenu_2 colonnes avec illustration ou tableau a 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838200" y="949865"/>
            <a:ext cx="5040000" cy="4969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2400" i="1" kern="1200" dirty="0" smtClean="0">
                <a:solidFill>
                  <a:srgbClr val="BE0A1E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1143000" indent="-228600">
              <a:buClr>
                <a:srgbClr val="ED6624"/>
              </a:buClr>
              <a:buFont typeface="Wingdings" panose="05000000000000000000" pitchFamily="2" charset="2"/>
              <a:buChar char="§"/>
              <a:defRPr/>
            </a:lvl3pPr>
            <a:lvl4pPr>
              <a:buClr>
                <a:schemeClr val="bg1">
                  <a:lumMod val="50000"/>
                </a:schemeClr>
              </a:buClr>
              <a:defRPr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Catch phras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838200" y="89451"/>
            <a:ext cx="10581860" cy="720000"/>
          </a:xfrm>
        </p:spPr>
        <p:txBody>
          <a:bodyPr anchor="b">
            <a:normAutofit/>
          </a:bodyPr>
          <a:lstStyle>
            <a:lvl1pPr>
              <a:defRPr sz="3200" b="0" cap="all" baseline="0">
                <a:latin typeface="+mn-lt"/>
              </a:defRPr>
            </a:lvl1pPr>
          </a:lstStyle>
          <a:p>
            <a:r>
              <a:rPr lang="fr-FR"/>
              <a:t>TITRE / MESSAGE (MAJ, ACCENTS, UNE SEULE LIGNE)</a:t>
            </a:r>
          </a:p>
        </p:txBody>
      </p:sp>
      <p:cxnSp>
        <p:nvCxnSpPr>
          <p:cNvPr id="9" name="Connecteur droit 8"/>
          <p:cNvCxnSpPr>
            <a:cxnSpLocks/>
          </p:cNvCxnSpPr>
          <p:nvPr userDrawn="1"/>
        </p:nvCxnSpPr>
        <p:spPr>
          <a:xfrm flipH="1">
            <a:off x="818147" y="860244"/>
            <a:ext cx="11373853" cy="0"/>
          </a:xfrm>
          <a:prstGeom prst="line">
            <a:avLst/>
          </a:prstGeom>
          <a:ln w="6350">
            <a:solidFill>
              <a:srgbClr val="BE0A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contenu 2"/>
          <p:cNvSpPr>
            <a:spLocks noGrp="1"/>
          </p:cNvSpPr>
          <p:nvPr>
            <p:ph idx="13" hasCustomPrompt="1"/>
          </p:nvPr>
        </p:nvSpPr>
        <p:spPr>
          <a:xfrm>
            <a:off x="838199" y="1595361"/>
            <a:ext cx="5040000" cy="4402392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fr-FR" sz="1600" dirty="0"/>
            </a:lvl1pPr>
            <a:lvl2pPr marL="685800" indent="-228600">
              <a:buClr>
                <a:srgbClr val="BE0A1E"/>
              </a:buClr>
              <a:buFont typeface="Wingdings" panose="05000000000000000000" pitchFamily="2" charset="2"/>
              <a:buChar char="§"/>
              <a:defRPr lang="fr-FR" sz="1600" dirty="0" smtClean="0"/>
            </a:lvl2pPr>
            <a:lvl3pPr>
              <a:defRPr lang="fr-FR" sz="1600" dirty="0" smtClean="0"/>
            </a:lvl3pPr>
            <a:lvl4pPr marL="1600200" indent="-228600">
              <a:buClr>
                <a:srgbClr val="BE0A1E"/>
              </a:buClr>
              <a:buFont typeface="Courier New" panose="02070309020205020404" pitchFamily="49" charset="0"/>
              <a:buChar char="o"/>
              <a:defRPr lang="fr-FR" sz="1600" dirty="0" smtClean="0"/>
            </a:lvl4pPr>
          </a:lstStyle>
          <a:p>
            <a:pPr marL="0" lv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fr-FR"/>
              <a:t>Premier niveau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id="{2FDD3211-3BD2-4F4F-ADF4-EC6EB3294293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380060" y="949865"/>
            <a:ext cx="5040000" cy="4969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2400" i="1" kern="1200" dirty="0" smtClean="0">
                <a:solidFill>
                  <a:srgbClr val="BE0A1E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1143000" indent="-228600">
              <a:buClr>
                <a:srgbClr val="ED6624"/>
              </a:buClr>
              <a:buFont typeface="Wingdings" panose="05000000000000000000" pitchFamily="2" charset="2"/>
              <a:buChar char="§"/>
              <a:defRPr/>
            </a:lvl3pPr>
            <a:lvl4pPr>
              <a:buClr>
                <a:schemeClr val="bg1">
                  <a:lumMod val="50000"/>
                </a:schemeClr>
              </a:buClr>
              <a:defRPr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Catch phrase</a:t>
            </a:r>
          </a:p>
        </p:txBody>
      </p:sp>
      <p:sp>
        <p:nvSpPr>
          <p:cNvPr id="11" name="Espace réservé du contenu 2">
            <a:extLst>
              <a:ext uri="{FF2B5EF4-FFF2-40B4-BE49-F238E27FC236}">
                <a16:creationId xmlns:a16="http://schemas.microsoft.com/office/drawing/2014/main" id="{56C8D7CE-7B84-43AB-BCA1-660958309FF3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80059" y="1595361"/>
            <a:ext cx="5040000" cy="44023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64328A"/>
              </a:buClr>
              <a:buFont typeface="Wingdings" panose="05000000000000000000" pitchFamily="2" charset="2"/>
              <a:buChar char="§"/>
              <a:defRPr sz="1600"/>
            </a:lvl2pPr>
            <a:lvl3pPr marL="11430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Clr>
                <a:srgbClr val="64328A"/>
              </a:buClr>
              <a:buFont typeface="Courier New" panose="02070309020205020404" pitchFamily="49" charset="0"/>
              <a:buChar char="o"/>
              <a:defRPr sz="1600"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Illustration, schéma, tableau…</a:t>
            </a:r>
          </a:p>
          <a:p>
            <a:pPr lvl="0"/>
            <a:endParaRPr lang="fr-FR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4D984FA-4E61-4CE3-B98F-02227AB979FA}"/>
              </a:ext>
            </a:extLst>
          </p:cNvPr>
          <p:cNvSpPr/>
          <p:nvPr userDrawn="1"/>
        </p:nvSpPr>
        <p:spPr>
          <a:xfrm>
            <a:off x="0" y="6246000"/>
            <a:ext cx="12192000" cy="612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0B405EDC-1E32-4B90-9CE5-392C8CD06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0061" y="6246000"/>
            <a:ext cx="771939" cy="612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317D9236-8631-4EC5-863A-395526DEF96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21" name="Image 27">
            <a:extLst>
              <a:ext uri="{FF2B5EF4-FFF2-40B4-BE49-F238E27FC236}">
                <a16:creationId xmlns:a16="http://schemas.microsoft.com/office/drawing/2014/main" id="{8FD07312-F352-41FF-A2AB-D9F36659D2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7200" y="6312339"/>
            <a:ext cx="1497600" cy="479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517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FORMITE Titre et contenu_tableau illustration 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8818DB09-196B-419D-B59A-9510E05B6B3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-274" y="860424"/>
            <a:ext cx="2879999" cy="5385569"/>
          </a:xfrm>
        </p:spPr>
        <p:txBody>
          <a:bodyPr anchor="ctr"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Image, illustration, </a:t>
            </a:r>
            <a:r>
              <a:rPr lang="en-US" err="1"/>
              <a:t>schéma</a:t>
            </a:r>
            <a:r>
              <a:rPr lang="en-US"/>
              <a:t>…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250096" y="949865"/>
            <a:ext cx="8171764" cy="4969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2400" i="1" kern="1200" dirty="0" smtClean="0">
                <a:solidFill>
                  <a:srgbClr val="BE0A1E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1143000" indent="-228600">
              <a:buClr>
                <a:srgbClr val="ED6624"/>
              </a:buClr>
              <a:buFont typeface="Wingdings" panose="05000000000000000000" pitchFamily="2" charset="2"/>
              <a:buChar char="§"/>
              <a:defRPr/>
            </a:lvl3pPr>
            <a:lvl4pPr>
              <a:buClr>
                <a:schemeClr val="bg1">
                  <a:lumMod val="50000"/>
                </a:schemeClr>
              </a:buClr>
              <a:defRPr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Catch phras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838200" y="89451"/>
            <a:ext cx="10581860" cy="720000"/>
          </a:xfrm>
        </p:spPr>
        <p:txBody>
          <a:bodyPr anchor="b">
            <a:normAutofit/>
          </a:bodyPr>
          <a:lstStyle>
            <a:lvl1pPr>
              <a:defRPr sz="3200" b="0" cap="all" baseline="0">
                <a:latin typeface="+mn-lt"/>
              </a:defRPr>
            </a:lvl1pPr>
          </a:lstStyle>
          <a:p>
            <a:r>
              <a:rPr lang="fr-FR"/>
              <a:t>TITRE / MESSAGE (MAJ, ACCENTS, UNE SEULE LIGNE)</a:t>
            </a:r>
          </a:p>
        </p:txBody>
      </p:sp>
      <p:cxnSp>
        <p:nvCxnSpPr>
          <p:cNvPr id="9" name="Connecteur droit 8"/>
          <p:cNvCxnSpPr>
            <a:cxnSpLocks/>
          </p:cNvCxnSpPr>
          <p:nvPr userDrawn="1"/>
        </p:nvCxnSpPr>
        <p:spPr>
          <a:xfrm flipH="1">
            <a:off x="818147" y="860244"/>
            <a:ext cx="11373853" cy="0"/>
          </a:xfrm>
          <a:prstGeom prst="line">
            <a:avLst/>
          </a:prstGeom>
          <a:ln w="6350">
            <a:solidFill>
              <a:srgbClr val="BE0A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contenu 2"/>
          <p:cNvSpPr>
            <a:spLocks noGrp="1"/>
          </p:cNvSpPr>
          <p:nvPr>
            <p:ph idx="13" hasCustomPrompt="1"/>
          </p:nvPr>
        </p:nvSpPr>
        <p:spPr>
          <a:xfrm>
            <a:off x="3250096" y="1595361"/>
            <a:ext cx="8171764" cy="440239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BE0A1E"/>
              </a:buClr>
              <a:buFont typeface="Wingdings" panose="05000000000000000000" pitchFamily="2" charset="2"/>
              <a:buChar char="§"/>
              <a:defRPr sz="1600"/>
            </a:lvl2pPr>
            <a:lvl3pPr marL="11430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Clr>
                <a:srgbClr val="BE0A1E"/>
              </a:buClr>
              <a:buFont typeface="Courier New" panose="02070309020205020404" pitchFamily="49" charset="0"/>
              <a:buChar char="o"/>
              <a:defRPr sz="1600"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Premier niveau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0"/>
            <a:endParaRPr lang="fr-FR"/>
          </a:p>
          <a:p>
            <a:pPr lvl="0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D984FA-4E61-4CE3-B98F-02227AB979FA}"/>
              </a:ext>
            </a:extLst>
          </p:cNvPr>
          <p:cNvSpPr/>
          <p:nvPr userDrawn="1"/>
        </p:nvSpPr>
        <p:spPr>
          <a:xfrm>
            <a:off x="0" y="6246000"/>
            <a:ext cx="12192000" cy="612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0B405EDC-1E32-4B90-9CE5-392C8CD06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0061" y="6246000"/>
            <a:ext cx="771939" cy="612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317D9236-8631-4EC5-863A-395526DEF96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9" name="Image 27">
            <a:extLst>
              <a:ext uri="{FF2B5EF4-FFF2-40B4-BE49-F238E27FC236}">
                <a16:creationId xmlns:a16="http://schemas.microsoft.com/office/drawing/2014/main" id="{8FD07312-F352-41FF-A2AB-D9F36659D2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7200" y="6312339"/>
            <a:ext cx="1497600" cy="479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2335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FORMITE Titre et contenu_tableau illustration 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8818DB09-196B-419D-B59A-9510E05B6B3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312001" y="860424"/>
            <a:ext cx="2879999" cy="5385569"/>
          </a:xfrm>
        </p:spPr>
        <p:txBody>
          <a:bodyPr anchor="ctr"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Image, illustration, </a:t>
            </a:r>
            <a:r>
              <a:rPr lang="en-US" err="1"/>
              <a:t>schéma</a:t>
            </a:r>
            <a:r>
              <a:rPr lang="en-US"/>
              <a:t>…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838200" y="949865"/>
            <a:ext cx="8171764" cy="4969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2400" i="1" kern="1200" dirty="0" smtClean="0">
                <a:solidFill>
                  <a:srgbClr val="BE0A1E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1143000" indent="-228600">
              <a:buClr>
                <a:srgbClr val="ED6624"/>
              </a:buClr>
              <a:buFont typeface="Wingdings" panose="05000000000000000000" pitchFamily="2" charset="2"/>
              <a:buChar char="§"/>
              <a:defRPr/>
            </a:lvl3pPr>
            <a:lvl4pPr>
              <a:buClr>
                <a:schemeClr val="bg1">
                  <a:lumMod val="50000"/>
                </a:schemeClr>
              </a:buClr>
              <a:defRPr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Catch phras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838200" y="89451"/>
            <a:ext cx="10581860" cy="720000"/>
          </a:xfrm>
        </p:spPr>
        <p:txBody>
          <a:bodyPr anchor="b">
            <a:normAutofit/>
          </a:bodyPr>
          <a:lstStyle>
            <a:lvl1pPr>
              <a:defRPr sz="3200" b="0" cap="all" baseline="0">
                <a:latin typeface="+mn-lt"/>
              </a:defRPr>
            </a:lvl1pPr>
          </a:lstStyle>
          <a:p>
            <a:r>
              <a:rPr lang="fr-FR"/>
              <a:t>TITRE / MESSAGE (MAJ, ACCENTS, UNE SEULE LIGNE)</a:t>
            </a:r>
          </a:p>
        </p:txBody>
      </p:sp>
      <p:cxnSp>
        <p:nvCxnSpPr>
          <p:cNvPr id="9" name="Connecteur droit 8"/>
          <p:cNvCxnSpPr>
            <a:cxnSpLocks/>
          </p:cNvCxnSpPr>
          <p:nvPr userDrawn="1"/>
        </p:nvCxnSpPr>
        <p:spPr>
          <a:xfrm flipH="1">
            <a:off x="818147" y="860244"/>
            <a:ext cx="11373853" cy="0"/>
          </a:xfrm>
          <a:prstGeom prst="line">
            <a:avLst/>
          </a:prstGeom>
          <a:ln w="6350">
            <a:solidFill>
              <a:srgbClr val="BE0A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contenu 2"/>
          <p:cNvSpPr>
            <a:spLocks noGrp="1"/>
          </p:cNvSpPr>
          <p:nvPr>
            <p:ph idx="13" hasCustomPrompt="1"/>
          </p:nvPr>
        </p:nvSpPr>
        <p:spPr>
          <a:xfrm>
            <a:off x="838200" y="1595361"/>
            <a:ext cx="8171764" cy="440239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BE0A1E"/>
              </a:buClr>
              <a:buFont typeface="Wingdings" panose="05000000000000000000" pitchFamily="2" charset="2"/>
              <a:buChar char="§"/>
              <a:defRPr sz="1600"/>
            </a:lvl2pPr>
            <a:lvl3pPr marL="11430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Clr>
                <a:srgbClr val="BE0A1E"/>
              </a:buClr>
              <a:buFont typeface="Courier New" panose="02070309020205020404" pitchFamily="49" charset="0"/>
              <a:buChar char="o"/>
              <a:defRPr sz="1600"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Premier niveau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0"/>
            <a:endParaRPr lang="fr-FR"/>
          </a:p>
          <a:p>
            <a:pPr lvl="0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D984FA-4E61-4CE3-B98F-02227AB979FA}"/>
              </a:ext>
            </a:extLst>
          </p:cNvPr>
          <p:cNvSpPr/>
          <p:nvPr userDrawn="1"/>
        </p:nvSpPr>
        <p:spPr>
          <a:xfrm>
            <a:off x="0" y="6246000"/>
            <a:ext cx="12192000" cy="612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0B405EDC-1E32-4B90-9CE5-392C8CD06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0061" y="6246000"/>
            <a:ext cx="771939" cy="612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317D9236-8631-4EC5-863A-395526DEF96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9" name="Image 27">
            <a:extLst>
              <a:ext uri="{FF2B5EF4-FFF2-40B4-BE49-F238E27FC236}">
                <a16:creationId xmlns:a16="http://schemas.microsoft.com/office/drawing/2014/main" id="{8FD07312-F352-41FF-A2AB-D9F36659D2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7200" y="6312339"/>
            <a:ext cx="1497600" cy="479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9709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SG_Reg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838201" y="949865"/>
            <a:ext cx="10581860" cy="4969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406"/>
              </a:spcBef>
              <a:buNone/>
              <a:defRPr lang="fr-FR" sz="1800" i="1" kern="1200" dirty="0" smtClean="0">
                <a:solidFill>
                  <a:srgbClr val="F08200"/>
                </a:solidFill>
                <a:latin typeface="+mn-lt"/>
                <a:ea typeface="+mn-ea"/>
                <a:cs typeface="+mn-cs"/>
              </a:defRPr>
            </a:lvl1pPr>
            <a:lvl2pPr marL="371484" indent="0">
              <a:lnSpc>
                <a:spcPct val="100000"/>
              </a:lnSpc>
              <a:buNone/>
              <a:defRPr/>
            </a:lvl2pPr>
            <a:lvl3pPr marL="928711" indent="-185742">
              <a:buClr>
                <a:srgbClr val="ED6624"/>
              </a:buClr>
              <a:buFont typeface="Wingdings" panose="05000000000000000000" pitchFamily="2" charset="2"/>
              <a:buChar char="§"/>
              <a:defRPr/>
            </a:lvl3pPr>
            <a:lvl4pPr>
              <a:buClr>
                <a:schemeClr val="bg1">
                  <a:lumMod val="50000"/>
                </a:schemeClr>
              </a:buClr>
              <a:defRPr/>
            </a:lvl4pPr>
            <a:lvl5pPr marL="1671680" indent="-185742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Calendrier règlementaire</a:t>
            </a:r>
          </a:p>
        </p:txBody>
      </p:sp>
      <p:cxnSp>
        <p:nvCxnSpPr>
          <p:cNvPr id="9" name="Connecteur droit 8"/>
          <p:cNvCxnSpPr>
            <a:cxnSpLocks/>
          </p:cNvCxnSpPr>
          <p:nvPr userDrawn="1"/>
        </p:nvCxnSpPr>
        <p:spPr>
          <a:xfrm flipH="1">
            <a:off x="818147" y="860244"/>
            <a:ext cx="11373854" cy="0"/>
          </a:xfrm>
          <a:prstGeom prst="line">
            <a:avLst/>
          </a:prstGeom>
          <a:ln w="6350">
            <a:solidFill>
              <a:srgbClr val="F08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contenu 2"/>
          <p:cNvSpPr>
            <a:spLocks noGrp="1"/>
          </p:cNvSpPr>
          <p:nvPr>
            <p:ph idx="13" hasCustomPrompt="1"/>
          </p:nvPr>
        </p:nvSpPr>
        <p:spPr>
          <a:xfrm>
            <a:off x="838199" y="1595361"/>
            <a:ext cx="10581861" cy="440239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406"/>
              </a:spcBef>
              <a:buNone/>
              <a:defRPr lang="fr-FR" sz="13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3662" indent="-232178">
              <a:lnSpc>
                <a:spcPct val="100000"/>
              </a:lnSpc>
              <a:spcBef>
                <a:spcPts val="406"/>
              </a:spcBef>
              <a:buClr>
                <a:srgbClr val="F08200"/>
              </a:buClr>
              <a:buFont typeface="Wingdings" panose="05000000000000000000" pitchFamily="2" charset="2"/>
              <a:buChar char="§"/>
              <a:defRPr sz="1300"/>
            </a:lvl2pPr>
            <a:lvl3pPr marL="928711" indent="-185742">
              <a:lnSpc>
                <a:spcPct val="100000"/>
              </a:lnSpc>
              <a:spcBef>
                <a:spcPts val="406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300"/>
            </a:lvl3pPr>
            <a:lvl4pPr marL="1300196" indent="-185742">
              <a:lnSpc>
                <a:spcPct val="100000"/>
              </a:lnSpc>
              <a:spcBef>
                <a:spcPts val="406"/>
              </a:spcBef>
              <a:buClr>
                <a:srgbClr val="F08200"/>
              </a:buClr>
              <a:buFont typeface="Courier New" panose="02070309020205020404" pitchFamily="49" charset="0"/>
              <a:buChar char="o"/>
              <a:defRPr sz="1300"/>
            </a:lvl4pPr>
            <a:lvl5pPr marL="1671680" indent="-185742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Premier niveau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0"/>
            <a:endParaRPr lang="fr-FR"/>
          </a:p>
          <a:p>
            <a:pPr lvl="0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4D984FA-4E61-4CE3-B98F-02227AB979FA}"/>
              </a:ext>
            </a:extLst>
          </p:cNvPr>
          <p:cNvSpPr/>
          <p:nvPr userDrawn="1"/>
        </p:nvSpPr>
        <p:spPr>
          <a:xfrm>
            <a:off x="0" y="6246000"/>
            <a:ext cx="12192000" cy="612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6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0B405EDC-1E32-4B90-9CE5-392C8CD06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0062" y="6246000"/>
            <a:ext cx="771938" cy="612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defTabSz="742969"/>
            <a:fld id="{317D9236-8631-4EC5-863A-395526DEF969}" type="slidenum">
              <a:rPr lang="fr-FR" smtClean="0">
                <a:solidFill>
                  <a:prstClr val="black"/>
                </a:solidFill>
              </a:rPr>
              <a:pPr defTabSz="742969"/>
              <a:t>‹N°›</a:t>
            </a:fld>
            <a:endParaRPr lang="fr-FR">
              <a:solidFill>
                <a:prstClr val="black"/>
              </a:solidFill>
            </a:endParaRPr>
          </a:p>
        </p:txBody>
      </p:sp>
      <p:pic>
        <p:nvPicPr>
          <p:cNvPr id="24" name="Image 27">
            <a:extLst>
              <a:ext uri="{FF2B5EF4-FFF2-40B4-BE49-F238E27FC236}">
                <a16:creationId xmlns:a16="http://schemas.microsoft.com/office/drawing/2014/main" id="{8FD07312-F352-41FF-A2AB-D9F36659D2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7200" y="6312339"/>
            <a:ext cx="1497600" cy="479322"/>
          </a:xfrm>
          <a:prstGeom prst="rect">
            <a:avLst/>
          </a:prstGeom>
        </p:spPr>
      </p:pic>
      <p:sp>
        <p:nvSpPr>
          <p:cNvPr id="31" name="Titre 1">
            <a:extLst>
              <a:ext uri="{FF2B5EF4-FFF2-40B4-BE49-F238E27FC236}">
                <a16:creationId xmlns:a16="http://schemas.microsoft.com/office/drawing/2014/main" id="{7EFBD9F4-3536-505B-CBFB-55FACE2FE0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89451"/>
            <a:ext cx="10581860" cy="720000"/>
          </a:xfrm>
        </p:spPr>
        <p:txBody>
          <a:bodyPr anchor="b">
            <a:normAutofit/>
          </a:bodyPr>
          <a:lstStyle>
            <a:lvl1pPr>
              <a:defRPr sz="2200" b="0" cap="all" baseline="0">
                <a:latin typeface="+mn-lt"/>
              </a:defRPr>
            </a:lvl1pPr>
          </a:lstStyle>
          <a:p>
            <a:r>
              <a:rPr lang="fr-FR">
                <a:solidFill>
                  <a:srgbClr val="A5002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DRE REGLEMENTAIRE DE L’ ESG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778359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163618" marR="0" indent="-163618" algn="l" defTabSz="742061" rtl="0" eaLnBrk="1" fontAlgn="auto" latinLnBrk="0" hangingPunct="1">
              <a:lnSpc>
                <a:spcPct val="112000"/>
              </a:lnSpc>
              <a:spcBef>
                <a:spcPts val="650"/>
              </a:spcBef>
              <a:spcAft>
                <a:spcPts val="488"/>
              </a:spcAft>
              <a:buClr>
                <a:srgbClr val="E10019"/>
              </a:buClr>
              <a:buSzTx/>
              <a:buFont typeface="Wingdings" pitchFamily="2" charset="2"/>
              <a:buChar char="n"/>
              <a:tabLst/>
              <a:defRPr/>
            </a:lvl1pPr>
            <a:lvl2pPr marL="333063" marR="0" indent="-163443" algn="l" defTabSz="742061" rtl="0" eaLnBrk="1" fontAlgn="auto" latinLnBrk="0" hangingPunct="1">
              <a:lnSpc>
                <a:spcPct val="112000"/>
              </a:lnSpc>
              <a:spcBef>
                <a:spcPts val="334"/>
              </a:spcBef>
              <a:spcAft>
                <a:spcPts val="488"/>
              </a:spcAft>
              <a:buClr>
                <a:schemeClr val="accent4"/>
              </a:buClr>
              <a:buSzTx/>
              <a:buFont typeface="Wingdings" pitchFamily="2" charset="2"/>
              <a:buChar char="n"/>
              <a:tabLst/>
              <a:defRPr/>
            </a:lvl2pPr>
            <a:lvl3pPr>
              <a:defRPr/>
            </a:lvl3pPr>
            <a:lvl4pPr marL="931267" marR="0" indent="-162520" algn="l" defTabSz="742061" rtl="0" eaLnBrk="1" fontAlgn="auto" latinLnBrk="0" hangingPunct="1">
              <a:lnSpc>
                <a:spcPct val="112000"/>
              </a:lnSpc>
              <a:spcBef>
                <a:spcPts val="334"/>
              </a:spcBef>
              <a:spcAft>
                <a:spcPts val="488"/>
              </a:spcAft>
              <a:buClr>
                <a:schemeClr val="accent4">
                  <a:lumMod val="40000"/>
                  <a:lumOff val="60000"/>
                </a:schemeClr>
              </a:buClr>
              <a:buSzPct val="75000"/>
              <a:buFontTx/>
              <a:buChar char="-"/>
              <a:tabLst/>
              <a:defRPr baseline="0"/>
            </a:lvl4pPr>
            <a:lvl5pPr>
              <a:defRPr/>
            </a:lvl5pPr>
          </a:lstStyle>
          <a:p>
            <a:pPr marL="163618" marR="0" lvl="0" indent="-163618" algn="l" defTabSz="742061" rtl="0" eaLnBrk="1" fontAlgn="auto" latinLnBrk="0" hangingPunct="1">
              <a:lnSpc>
                <a:spcPct val="112000"/>
              </a:lnSpc>
              <a:spcBef>
                <a:spcPts val="650"/>
              </a:spcBef>
              <a:spcAft>
                <a:spcPts val="488"/>
              </a:spcAft>
              <a:buClr>
                <a:srgbClr val="E10019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en-US" sz="1219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 level 1</a:t>
            </a:r>
          </a:p>
          <a:p>
            <a:pPr marL="333063" marR="0" lvl="1" indent="-163443" algn="l" defTabSz="742061" rtl="0" eaLnBrk="1" fontAlgn="auto" latinLnBrk="0" hangingPunct="1">
              <a:lnSpc>
                <a:spcPct val="112000"/>
              </a:lnSpc>
              <a:spcBef>
                <a:spcPts val="334"/>
              </a:spcBef>
              <a:spcAft>
                <a:spcPts val="488"/>
              </a:spcAft>
              <a:buClr>
                <a:schemeClr val="accent4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en-US" sz="1219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 level 2</a:t>
            </a:r>
          </a:p>
          <a:p>
            <a:pPr marL="611386" marR="0" lvl="3" indent="-162520" algn="l" defTabSz="742061" rtl="0" eaLnBrk="1" fontAlgn="auto" latinLnBrk="0" hangingPunct="1">
              <a:lnSpc>
                <a:spcPct val="112000"/>
              </a:lnSpc>
              <a:spcBef>
                <a:spcPts val="334"/>
              </a:spcBef>
              <a:spcAft>
                <a:spcPts val="488"/>
              </a:spcAft>
              <a:buClr>
                <a:schemeClr val="accent4">
                  <a:lumMod val="40000"/>
                  <a:lumOff val="60000"/>
                </a:schemeClr>
              </a:buClr>
              <a:buSzPct val="75000"/>
              <a:buFont typeface="Wingdings" pitchFamily="2" charset="2"/>
              <a:buChar char="n"/>
              <a:tabLst/>
              <a:defRPr/>
            </a:pPr>
            <a:r>
              <a:rPr kumimoji="0" lang="en-US" sz="1219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 level 3</a:t>
            </a:r>
          </a:p>
          <a:p>
            <a:pPr marL="931267" marR="0" lvl="3" indent="-162520" algn="l" defTabSz="742061" rtl="0" eaLnBrk="1" fontAlgn="auto" latinLnBrk="0" hangingPunct="1">
              <a:lnSpc>
                <a:spcPct val="112000"/>
              </a:lnSpc>
              <a:spcBef>
                <a:spcPts val="334"/>
              </a:spcBef>
              <a:spcAft>
                <a:spcPts val="488"/>
              </a:spcAft>
              <a:buClr>
                <a:schemeClr val="accent4">
                  <a:lumMod val="40000"/>
                  <a:lumOff val="60000"/>
                </a:schemeClr>
              </a:buClr>
              <a:buSzPct val="75000"/>
              <a:buFontTx/>
              <a:buChar char="-"/>
              <a:tabLst/>
              <a:defRPr/>
            </a:pPr>
            <a:r>
              <a:rPr kumimoji="0" lang="en-US" sz="1219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 level 4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800" y="193891"/>
            <a:ext cx="11319934" cy="899381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1869" b="1">
                <a:solidFill>
                  <a:schemeClr val="accent4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1625">
                <a:solidFill>
                  <a:schemeClr val="accent4"/>
                </a:solidFill>
              </a:defRPr>
            </a:lvl2pPr>
          </a:lstStyle>
          <a:p>
            <a:pPr lvl="0"/>
            <a:r>
              <a:rPr lang="en-US" noProof="0"/>
              <a:t>TITLE</a:t>
            </a:r>
          </a:p>
          <a:p>
            <a:pPr lvl="1"/>
            <a:r>
              <a:rPr lang="en-US" noProof="0"/>
              <a:t>Sub-titl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 bwMode="gray">
          <a:xfrm>
            <a:off x="11405165" y="6524627"/>
            <a:ext cx="768348" cy="333375"/>
          </a:xfrm>
        </p:spPr>
        <p:txBody>
          <a:bodyPr/>
          <a:lstStyle>
            <a:lvl1pPr algn="ctr">
              <a:defRPr/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623636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/>
          <p:cNvPicPr>
            <a:picLocks noChangeAspect="1"/>
          </p:cNvPicPr>
          <p:nvPr userDrawn="1"/>
        </p:nvPicPr>
        <p:blipFill rotWithShape="1">
          <a:blip r:embed="rId2"/>
          <a:srcRect r="19564"/>
          <a:stretch/>
        </p:blipFill>
        <p:spPr>
          <a:xfrm>
            <a:off x="4010968" y="-11942"/>
            <a:ext cx="8181033" cy="6869122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1" y="6262446"/>
            <a:ext cx="4010967" cy="595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4"/>
          </p:nvPr>
        </p:nvSpPr>
        <p:spPr bwMode="gray">
          <a:xfrm>
            <a:off x="1" y="6694488"/>
            <a:ext cx="436033" cy="163512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00/00/2015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25"/>
          </p:nvPr>
        </p:nvSpPr>
        <p:spPr bwMode="gray">
          <a:xfrm>
            <a:off x="1" y="6694488"/>
            <a:ext cx="436033" cy="163512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TITRE DE LA PRESENTATION ( MENU "INSERTION / EN-TETE ET PIED DE PAGE")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26"/>
          </p:nvPr>
        </p:nvSpPr>
        <p:spPr bwMode="gray">
          <a:xfrm>
            <a:off x="1" y="6694489"/>
            <a:ext cx="436032" cy="163511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4" name="Forme libre 43"/>
          <p:cNvSpPr/>
          <p:nvPr userDrawn="1"/>
        </p:nvSpPr>
        <p:spPr>
          <a:xfrm rot="21245188">
            <a:off x="347236" y="-169573"/>
            <a:ext cx="4210841" cy="7208622"/>
          </a:xfrm>
          <a:custGeom>
            <a:avLst/>
            <a:gdLst>
              <a:gd name="connsiteX0" fmla="*/ 96446 w 3158131"/>
              <a:gd name="connsiteY0" fmla="*/ 0 h 7208622"/>
              <a:gd name="connsiteX1" fmla="*/ 3158131 w 3158131"/>
              <a:gd name="connsiteY1" fmla="*/ 317125 h 7208622"/>
              <a:gd name="connsiteX2" fmla="*/ 3158131 w 3158131"/>
              <a:gd name="connsiteY2" fmla="*/ 7208622 h 7208622"/>
              <a:gd name="connsiteX3" fmla="*/ 0 w 3158131"/>
              <a:gd name="connsiteY3" fmla="*/ 6881507 h 7208622"/>
              <a:gd name="connsiteX4" fmla="*/ 0 w 3158131"/>
              <a:gd name="connsiteY4" fmla="*/ 931135 h 7208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58131" h="7208622">
                <a:moveTo>
                  <a:pt x="96446" y="0"/>
                </a:moveTo>
                <a:lnTo>
                  <a:pt x="3158131" y="317125"/>
                </a:lnTo>
                <a:lnTo>
                  <a:pt x="3158131" y="7208622"/>
                </a:lnTo>
                <a:lnTo>
                  <a:pt x="0" y="6881507"/>
                </a:lnTo>
                <a:lnTo>
                  <a:pt x="0" y="931135"/>
                </a:lnTo>
                <a:close/>
              </a:path>
            </a:pathLst>
          </a:custGeom>
          <a:solidFill>
            <a:srgbClr val="EF8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2439"/>
          </a:p>
        </p:txBody>
      </p:sp>
      <p:sp>
        <p:nvSpPr>
          <p:cNvPr id="46" name="Forme libre 45"/>
          <p:cNvSpPr/>
          <p:nvPr userDrawn="1"/>
        </p:nvSpPr>
        <p:spPr>
          <a:xfrm rot="342133">
            <a:off x="390373" y="-170384"/>
            <a:ext cx="4158377" cy="7195002"/>
          </a:xfrm>
          <a:custGeom>
            <a:avLst/>
            <a:gdLst>
              <a:gd name="connsiteX0" fmla="*/ 3118783 w 3118783"/>
              <a:gd name="connsiteY0" fmla="*/ 0 h 7195002"/>
              <a:gd name="connsiteX1" fmla="*/ 3118783 w 3118783"/>
              <a:gd name="connsiteY1" fmla="*/ 6888913 h 7195002"/>
              <a:gd name="connsiteX2" fmla="*/ 53365 w 3118783"/>
              <a:gd name="connsiteY2" fmla="*/ 7195002 h 7195002"/>
              <a:gd name="connsiteX3" fmla="*/ 0 w 3118783"/>
              <a:gd name="connsiteY3" fmla="*/ 6660568 h 7195002"/>
              <a:gd name="connsiteX4" fmla="*/ 0 w 3118783"/>
              <a:gd name="connsiteY4" fmla="*/ 311418 h 7195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8783" h="7195002">
                <a:moveTo>
                  <a:pt x="3118783" y="0"/>
                </a:moveTo>
                <a:lnTo>
                  <a:pt x="3118783" y="6888913"/>
                </a:lnTo>
                <a:lnTo>
                  <a:pt x="53365" y="7195002"/>
                </a:lnTo>
                <a:lnTo>
                  <a:pt x="0" y="6660568"/>
                </a:lnTo>
                <a:lnTo>
                  <a:pt x="0" y="311418"/>
                </a:lnTo>
                <a:close/>
              </a:path>
            </a:pathLst>
          </a:custGeom>
          <a:solidFill>
            <a:schemeClr val="bg1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2439"/>
          </a:p>
        </p:txBody>
      </p:sp>
      <p:sp>
        <p:nvSpPr>
          <p:cNvPr id="20" name="Rectangle 19"/>
          <p:cNvSpPr/>
          <p:nvPr userDrawn="1"/>
        </p:nvSpPr>
        <p:spPr>
          <a:xfrm>
            <a:off x="2" y="2356"/>
            <a:ext cx="4019741" cy="68556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39"/>
          </a:p>
        </p:txBody>
      </p:sp>
      <p:pic>
        <p:nvPicPr>
          <p:cNvPr id="14" name="Picture 1" descr="logo axis (2)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5" t="-1427" r="-11768"/>
          <a:stretch>
            <a:fillRect/>
          </a:stretch>
        </p:blipFill>
        <p:spPr bwMode="auto">
          <a:xfrm>
            <a:off x="81779" y="243378"/>
            <a:ext cx="3935380" cy="91727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Espace réservé pour une image  6"/>
          <p:cNvSpPr>
            <a:spLocks noGrp="1"/>
          </p:cNvSpPr>
          <p:nvPr userDrawn="1">
            <p:ph type="pic" sz="quarter" idx="28" hasCustomPrompt="1"/>
          </p:nvPr>
        </p:nvSpPr>
        <p:spPr>
          <a:xfrm>
            <a:off x="173162" y="5597526"/>
            <a:ext cx="3549649" cy="8159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fr-FR"/>
              <a:t>Logo client</a:t>
            </a:r>
          </a:p>
        </p:txBody>
      </p:sp>
      <p:sp>
        <p:nvSpPr>
          <p:cNvPr id="36" name="Forme libre 35"/>
          <p:cNvSpPr/>
          <p:nvPr userDrawn="1"/>
        </p:nvSpPr>
        <p:spPr>
          <a:xfrm>
            <a:off x="92035" y="2356"/>
            <a:ext cx="3931316" cy="6854824"/>
          </a:xfrm>
          <a:custGeom>
            <a:avLst/>
            <a:gdLst>
              <a:gd name="connsiteX0" fmla="*/ 2911473 w 2948487"/>
              <a:gd name="connsiteY0" fmla="*/ 0 h 6854824"/>
              <a:gd name="connsiteX1" fmla="*/ 2948487 w 2948487"/>
              <a:gd name="connsiteY1" fmla="*/ 0 h 6854824"/>
              <a:gd name="connsiteX2" fmla="*/ 2948487 w 2948487"/>
              <a:gd name="connsiteY2" fmla="*/ 6854824 h 6854824"/>
              <a:gd name="connsiteX3" fmla="*/ 2904206 w 2948487"/>
              <a:gd name="connsiteY3" fmla="*/ 6854824 h 6854824"/>
              <a:gd name="connsiteX4" fmla="*/ 2660972 w 2948487"/>
              <a:gd name="connsiteY4" fmla="*/ 4076228 h 6854824"/>
              <a:gd name="connsiteX5" fmla="*/ 1690398 w 2948487"/>
              <a:gd name="connsiteY5" fmla="*/ 5071471 h 6854824"/>
              <a:gd name="connsiteX6" fmla="*/ 2463737 w 2948487"/>
              <a:gd name="connsiteY6" fmla="*/ 3825295 h 6854824"/>
              <a:gd name="connsiteX7" fmla="*/ 0 w 2948487"/>
              <a:gd name="connsiteY7" fmla="*/ 3468925 h 6854824"/>
              <a:gd name="connsiteX8" fmla="*/ 2463740 w 2948487"/>
              <a:gd name="connsiteY8" fmla="*/ 3112554 h 6854824"/>
              <a:gd name="connsiteX9" fmla="*/ 1690397 w 2948487"/>
              <a:gd name="connsiteY9" fmla="*/ 1866374 h 6854824"/>
              <a:gd name="connsiteX10" fmla="*/ 2660972 w 2948487"/>
              <a:gd name="connsiteY10" fmla="*/ 2861617 h 6854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948487" h="6854824">
                <a:moveTo>
                  <a:pt x="2911473" y="0"/>
                </a:moveTo>
                <a:lnTo>
                  <a:pt x="2948487" y="0"/>
                </a:lnTo>
                <a:lnTo>
                  <a:pt x="2948487" y="6854824"/>
                </a:lnTo>
                <a:lnTo>
                  <a:pt x="2904206" y="6854824"/>
                </a:lnTo>
                <a:lnTo>
                  <a:pt x="2660972" y="4076228"/>
                </a:lnTo>
                <a:lnTo>
                  <a:pt x="1690398" y="5071471"/>
                </a:lnTo>
                <a:lnTo>
                  <a:pt x="2463737" y="3825295"/>
                </a:lnTo>
                <a:lnTo>
                  <a:pt x="0" y="3468925"/>
                </a:lnTo>
                <a:lnTo>
                  <a:pt x="2463740" y="3112554"/>
                </a:lnTo>
                <a:lnTo>
                  <a:pt x="1690397" y="1866374"/>
                </a:lnTo>
                <a:lnTo>
                  <a:pt x="2660972" y="2861617"/>
                </a:lnTo>
                <a:close/>
              </a:path>
            </a:pathLst>
          </a:custGeom>
          <a:solidFill>
            <a:srgbClr val="F6C0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21" name="Rectangle 20"/>
          <p:cNvSpPr/>
          <p:nvPr userDrawn="1"/>
        </p:nvSpPr>
        <p:spPr>
          <a:xfrm>
            <a:off x="5530087" y="2569946"/>
            <a:ext cx="6686788" cy="2824674"/>
          </a:xfrm>
          <a:prstGeom prst="rect">
            <a:avLst/>
          </a:prstGeom>
          <a:solidFill>
            <a:schemeClr val="bg1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29"/>
          </p:nvPr>
        </p:nvSpPr>
        <p:spPr>
          <a:xfrm>
            <a:off x="5530087" y="2589360"/>
            <a:ext cx="6661915" cy="2805260"/>
          </a:xfrm>
        </p:spPr>
        <p:txBody>
          <a:bodyPr lIns="108000" tIns="108000" rIns="108000" bIns="108000" anchor="ctr"/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7771395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 38"/>
          <p:cNvPicPr>
            <a:picLocks noChangeAspect="1"/>
          </p:cNvPicPr>
          <p:nvPr userDrawn="1"/>
        </p:nvPicPr>
        <p:blipFill rotWithShape="1">
          <a:blip r:embed="rId2"/>
          <a:srcRect r="19564"/>
          <a:stretch/>
        </p:blipFill>
        <p:spPr>
          <a:xfrm>
            <a:off x="4010968" y="-11942"/>
            <a:ext cx="8181033" cy="6869122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1" y="6262446"/>
            <a:ext cx="4010967" cy="595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4"/>
          </p:nvPr>
        </p:nvSpPr>
        <p:spPr bwMode="gray">
          <a:xfrm>
            <a:off x="1" y="6694488"/>
            <a:ext cx="436033" cy="163512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00/00/2015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25"/>
          </p:nvPr>
        </p:nvSpPr>
        <p:spPr bwMode="gray">
          <a:xfrm>
            <a:off x="1" y="6694488"/>
            <a:ext cx="436033" cy="163512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TITRE DE LA PRESENTATION ( MENU "INSERTION / EN-TETE ET PIED DE PAGE")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26"/>
          </p:nvPr>
        </p:nvSpPr>
        <p:spPr bwMode="gray">
          <a:xfrm>
            <a:off x="1" y="6694489"/>
            <a:ext cx="436032" cy="163511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8" name="Forme libre 37"/>
          <p:cNvSpPr/>
          <p:nvPr userDrawn="1"/>
        </p:nvSpPr>
        <p:spPr>
          <a:xfrm rot="21245188">
            <a:off x="347065" y="-172048"/>
            <a:ext cx="4210841" cy="7211103"/>
          </a:xfrm>
          <a:custGeom>
            <a:avLst/>
            <a:gdLst>
              <a:gd name="connsiteX0" fmla="*/ 3158131 w 3158131"/>
              <a:gd name="connsiteY0" fmla="*/ 316413 h 7211103"/>
              <a:gd name="connsiteX1" fmla="*/ 3158131 w 3158131"/>
              <a:gd name="connsiteY1" fmla="*/ 7211103 h 7211103"/>
              <a:gd name="connsiteX2" fmla="*/ 0 w 3158131"/>
              <a:gd name="connsiteY2" fmla="*/ 6883988 h 7211103"/>
              <a:gd name="connsiteX3" fmla="*/ 0 w 3158131"/>
              <a:gd name="connsiteY3" fmla="*/ 997494 h 7211103"/>
              <a:gd name="connsiteX4" fmla="*/ 103320 w 3158131"/>
              <a:gd name="connsiteY4" fmla="*/ 0 h 7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58131" h="7211103">
                <a:moveTo>
                  <a:pt x="3158131" y="316413"/>
                </a:moveTo>
                <a:lnTo>
                  <a:pt x="3158131" y="7211103"/>
                </a:lnTo>
                <a:lnTo>
                  <a:pt x="0" y="6883988"/>
                </a:lnTo>
                <a:lnTo>
                  <a:pt x="0" y="997494"/>
                </a:lnTo>
                <a:lnTo>
                  <a:pt x="103320" y="0"/>
                </a:lnTo>
                <a:close/>
              </a:path>
            </a:pathLst>
          </a:custGeom>
          <a:solidFill>
            <a:srgbClr val="F190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2439"/>
          </a:p>
        </p:txBody>
      </p:sp>
      <p:sp>
        <p:nvSpPr>
          <p:cNvPr id="36" name="Forme libre 35"/>
          <p:cNvSpPr/>
          <p:nvPr userDrawn="1"/>
        </p:nvSpPr>
        <p:spPr>
          <a:xfrm rot="342133">
            <a:off x="390609" y="-173568"/>
            <a:ext cx="4158377" cy="7197812"/>
          </a:xfrm>
          <a:custGeom>
            <a:avLst/>
            <a:gdLst>
              <a:gd name="connsiteX0" fmla="*/ 3118783 w 3118783"/>
              <a:gd name="connsiteY0" fmla="*/ 0 h 7197812"/>
              <a:gd name="connsiteX1" fmla="*/ 3118783 w 3118783"/>
              <a:gd name="connsiteY1" fmla="*/ 6892105 h 7197812"/>
              <a:gd name="connsiteX2" fmla="*/ 57192 w 3118783"/>
              <a:gd name="connsiteY2" fmla="*/ 7197812 h 7197812"/>
              <a:gd name="connsiteX3" fmla="*/ 0 w 3118783"/>
              <a:gd name="connsiteY3" fmla="*/ 6625046 h 7197812"/>
              <a:gd name="connsiteX4" fmla="*/ 0 w 3118783"/>
              <a:gd name="connsiteY4" fmla="*/ 311418 h 7197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8783" h="7197812">
                <a:moveTo>
                  <a:pt x="3118783" y="0"/>
                </a:moveTo>
                <a:lnTo>
                  <a:pt x="3118783" y="6892105"/>
                </a:lnTo>
                <a:lnTo>
                  <a:pt x="57192" y="7197812"/>
                </a:lnTo>
                <a:lnTo>
                  <a:pt x="0" y="6625046"/>
                </a:lnTo>
                <a:lnTo>
                  <a:pt x="0" y="311418"/>
                </a:lnTo>
                <a:close/>
              </a:path>
            </a:pathLst>
          </a:custGeom>
          <a:solidFill>
            <a:schemeClr val="bg1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2439"/>
          </a:p>
        </p:txBody>
      </p:sp>
      <p:sp>
        <p:nvSpPr>
          <p:cNvPr id="20" name="Rectangle 19"/>
          <p:cNvSpPr/>
          <p:nvPr userDrawn="1"/>
        </p:nvSpPr>
        <p:spPr>
          <a:xfrm>
            <a:off x="1" y="-1"/>
            <a:ext cx="3626040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39"/>
          </a:p>
        </p:txBody>
      </p:sp>
      <p:pic>
        <p:nvPicPr>
          <p:cNvPr id="14" name="Picture 1" descr="logo axis (2)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5" t="-1427" r="-836" b="-1"/>
          <a:stretch/>
        </p:blipFill>
        <p:spPr bwMode="auto">
          <a:xfrm>
            <a:off x="81779" y="243378"/>
            <a:ext cx="3544263" cy="91727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Espace réservé pour une image  6"/>
          <p:cNvSpPr>
            <a:spLocks noGrp="1"/>
          </p:cNvSpPr>
          <p:nvPr userDrawn="1">
            <p:ph type="pic" sz="quarter" idx="28" hasCustomPrompt="1"/>
          </p:nvPr>
        </p:nvSpPr>
        <p:spPr>
          <a:xfrm>
            <a:off x="173163" y="5597526"/>
            <a:ext cx="3293939" cy="8159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fr-FR"/>
              <a:t>Logo client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5530087" y="2569946"/>
            <a:ext cx="6686788" cy="2824674"/>
          </a:xfrm>
          <a:prstGeom prst="rect">
            <a:avLst/>
          </a:prstGeom>
          <a:solidFill>
            <a:schemeClr val="bg1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4" name="Espace réservé du texte 7"/>
          <p:cNvSpPr>
            <a:spLocks noGrp="1"/>
          </p:cNvSpPr>
          <p:nvPr>
            <p:ph type="body" sz="quarter" idx="29"/>
          </p:nvPr>
        </p:nvSpPr>
        <p:spPr>
          <a:xfrm>
            <a:off x="5530087" y="2589360"/>
            <a:ext cx="6661915" cy="2805260"/>
          </a:xfrm>
        </p:spPr>
        <p:txBody>
          <a:bodyPr lIns="108000" tIns="108000" rIns="108000" bIns="108000" anchor="ctr"/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5666991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AXIS ALTERNATIVE GRAND TITRE 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Image 3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448784" cy="5837274"/>
          </a:xfrm>
          <a:prstGeom prst="rect">
            <a:avLst/>
          </a:prstGeom>
        </p:spPr>
      </p:pic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66C75B1-59BA-4139-B6B8-B2D159B9FA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96000" y="2854050"/>
            <a:ext cx="7404877" cy="540000"/>
          </a:xfrm>
        </p:spPr>
        <p:txBody>
          <a:bodyPr anchor="ctr"/>
          <a:lstStyle>
            <a:lvl1pPr marL="0" indent="0" algn="r">
              <a:buNone/>
              <a:defRPr sz="3200" b="1" cap="all" baseline="0">
                <a:solidFill>
                  <a:schemeClr val="bg1"/>
                </a:solidFill>
              </a:defRPr>
            </a:lvl1pPr>
            <a:lvl2pPr marL="457200" indent="0" algn="r">
              <a:buNone/>
              <a:defRPr>
                <a:solidFill>
                  <a:schemeClr val="bg1"/>
                </a:solidFill>
              </a:defRPr>
            </a:lvl2pPr>
            <a:lvl3pPr marL="914400" indent="0" algn="r">
              <a:buNone/>
              <a:defRPr>
                <a:solidFill>
                  <a:schemeClr val="bg1"/>
                </a:solidFill>
              </a:defRPr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fr-FR"/>
              <a:t>TITRE PREMIER NIVEAU EN CAPITAL</a:t>
            </a:r>
          </a:p>
        </p:txBody>
      </p:sp>
      <p:pic>
        <p:nvPicPr>
          <p:cNvPr id="27" name="Image 25">
            <a:extLst>
              <a:ext uri="{FF2B5EF4-FFF2-40B4-BE49-F238E27FC236}">
                <a16:creationId xmlns:a16="http://schemas.microsoft.com/office/drawing/2014/main" id="{2E4C73CD-F40E-411C-9769-90E28DE846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7912" y="5927400"/>
            <a:ext cx="2525445" cy="808295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84D984FA-4E61-4CE3-B98F-02227AB979FA}"/>
              </a:ext>
            </a:extLst>
          </p:cNvPr>
          <p:cNvSpPr/>
          <p:nvPr userDrawn="1"/>
        </p:nvSpPr>
        <p:spPr>
          <a:xfrm>
            <a:off x="0" y="5837274"/>
            <a:ext cx="9449269" cy="1020726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4" name="Espace réservé du contenu 2"/>
          <p:cNvSpPr>
            <a:spLocks noGrp="1"/>
          </p:cNvSpPr>
          <p:nvPr>
            <p:ph idx="13" hasCustomPrompt="1"/>
          </p:nvPr>
        </p:nvSpPr>
        <p:spPr>
          <a:xfrm>
            <a:off x="224634" y="6077637"/>
            <a:ext cx="8776243" cy="5400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500"/>
              </a:spcBef>
              <a:buNone/>
              <a:defRPr lang="fr-FR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r">
              <a:lnSpc>
                <a:spcPct val="100000"/>
              </a:lnSpc>
              <a:spcBef>
                <a:spcPts val="500"/>
              </a:spcBef>
              <a:buClr>
                <a:srgbClr val="64328A"/>
              </a:buClr>
              <a:buFont typeface="Wingdings" panose="05000000000000000000" pitchFamily="2" charset="2"/>
              <a:buChar char="§"/>
              <a:defRPr sz="2000">
                <a:solidFill>
                  <a:schemeClr val="bg1"/>
                </a:solidFill>
              </a:defRPr>
            </a:lvl2pPr>
            <a:lvl3pPr marL="1143000" indent="-228600" algn="r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3pPr>
            <a:lvl4pPr marL="1600200" indent="-228600" algn="r">
              <a:lnSpc>
                <a:spcPct val="100000"/>
              </a:lnSpc>
              <a:spcBef>
                <a:spcPts val="500"/>
              </a:spcBef>
              <a:buClr>
                <a:srgbClr val="64328A"/>
              </a:buClr>
              <a:buFont typeface="Courier New" panose="02070309020205020404" pitchFamily="49" charset="0"/>
              <a:buChar char="o"/>
              <a:defRPr sz="2000">
                <a:solidFill>
                  <a:schemeClr val="bg1"/>
                </a:solidFill>
              </a:defRPr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Troisième niveau (nom du client, date </a:t>
            </a:r>
            <a:r>
              <a:rPr lang="fr-FR" err="1"/>
              <a:t>jj</a:t>
            </a:r>
            <a:r>
              <a:rPr lang="fr-FR"/>
              <a:t>/mm/</a:t>
            </a:r>
            <a:r>
              <a:rPr lang="fr-FR" err="1"/>
              <a:t>aaaa</a:t>
            </a:r>
            <a:r>
              <a:rPr lang="fr-FR"/>
              <a:t>) en corps 20</a:t>
            </a:r>
          </a:p>
          <a:p>
            <a:pPr lvl="0"/>
            <a:endParaRPr lang="fr-FR"/>
          </a:p>
          <a:p>
            <a:pPr lvl="0"/>
            <a:endParaRPr lang="fr-FR"/>
          </a:p>
        </p:txBody>
      </p:sp>
      <p:sp>
        <p:nvSpPr>
          <p:cNvPr id="35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596000" y="3464650"/>
            <a:ext cx="7404877" cy="540000"/>
          </a:xfrm>
        </p:spPr>
        <p:txBody>
          <a:bodyPr/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Deuxième niveau en minuscule et corps 24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 rotWithShape="1">
          <a:blip r:embed="rId4"/>
          <a:srcRect l="29081" t="782" r="32150" b="5149"/>
          <a:stretch/>
        </p:blipFill>
        <p:spPr>
          <a:xfrm>
            <a:off x="9448784" y="8967"/>
            <a:ext cx="2743701" cy="5828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689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pos="16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201376" marR="0" indent="-201376" algn="l" defTabSz="913306" rtl="0" eaLnBrk="1" fontAlgn="auto" latinLnBrk="0" hangingPunct="1">
              <a:lnSpc>
                <a:spcPct val="112000"/>
              </a:lnSpc>
              <a:spcBef>
                <a:spcPts val="800"/>
              </a:spcBef>
              <a:spcAft>
                <a:spcPts val="600"/>
              </a:spcAft>
              <a:buClr>
                <a:srgbClr val="E10019"/>
              </a:buClr>
              <a:buSzTx/>
              <a:buFont typeface="Wingdings" pitchFamily="2" charset="2"/>
              <a:buChar char="n"/>
              <a:tabLst/>
              <a:defRPr/>
            </a:lvl1pPr>
            <a:lvl2pPr marL="409924" marR="0" indent="-201160" algn="l" defTabSz="913306" rtl="0" eaLnBrk="1" fontAlgn="auto" latinLnBrk="0" hangingPunct="1">
              <a:lnSpc>
                <a:spcPct val="112000"/>
              </a:lnSpc>
              <a:spcBef>
                <a:spcPts val="411"/>
              </a:spcBef>
              <a:spcAft>
                <a:spcPts val="600"/>
              </a:spcAft>
              <a:buClr>
                <a:schemeClr val="accent4"/>
              </a:buClr>
              <a:buSzTx/>
              <a:buFont typeface="Wingdings" pitchFamily="2" charset="2"/>
              <a:buChar char="n"/>
              <a:tabLst/>
              <a:defRPr/>
            </a:lvl2pPr>
            <a:lvl3pPr>
              <a:defRPr/>
            </a:lvl3pPr>
            <a:lvl4pPr marL="1146175" marR="0" indent="-200025" algn="l" defTabSz="913306" rtl="0" eaLnBrk="1" fontAlgn="auto" latinLnBrk="0" hangingPunct="1">
              <a:lnSpc>
                <a:spcPct val="112000"/>
              </a:lnSpc>
              <a:spcBef>
                <a:spcPts val="411"/>
              </a:spcBef>
              <a:spcAft>
                <a:spcPts val="600"/>
              </a:spcAft>
              <a:buClr>
                <a:schemeClr val="accent4">
                  <a:lumMod val="40000"/>
                  <a:lumOff val="60000"/>
                </a:schemeClr>
              </a:buClr>
              <a:buSzPct val="75000"/>
              <a:buFontTx/>
              <a:buChar char="-"/>
              <a:tabLst/>
              <a:defRPr baseline="0"/>
            </a:lvl4pPr>
            <a:lvl5pPr>
              <a:defRPr/>
            </a:lvl5pPr>
          </a:lstStyle>
          <a:p>
            <a:pPr marL="201376" marR="0" lvl="0" indent="-201376" algn="l" defTabSz="913306" rtl="0" eaLnBrk="1" fontAlgn="auto" latinLnBrk="0" hangingPunct="1">
              <a:lnSpc>
                <a:spcPct val="112000"/>
              </a:lnSpc>
              <a:spcBef>
                <a:spcPts val="800"/>
              </a:spcBef>
              <a:spcAft>
                <a:spcPts val="600"/>
              </a:spcAft>
              <a:buClr>
                <a:srgbClr val="E10019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 level 1</a:t>
            </a:r>
          </a:p>
          <a:p>
            <a:pPr marL="409924" marR="0" lvl="1" indent="-201160" algn="l" defTabSz="913306" rtl="0" eaLnBrk="1" fontAlgn="auto" latinLnBrk="0" hangingPunct="1">
              <a:lnSpc>
                <a:spcPct val="112000"/>
              </a:lnSpc>
              <a:spcBef>
                <a:spcPts val="411"/>
              </a:spcBef>
              <a:spcAft>
                <a:spcPts val="600"/>
              </a:spcAft>
              <a:buClr>
                <a:schemeClr val="accent4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 level 2</a:t>
            </a:r>
          </a:p>
          <a:p>
            <a:pPr marL="752475" marR="0" lvl="3" indent="-200025" algn="l" defTabSz="913306" rtl="0" eaLnBrk="1" fontAlgn="auto" latinLnBrk="0" hangingPunct="1">
              <a:lnSpc>
                <a:spcPct val="112000"/>
              </a:lnSpc>
              <a:spcBef>
                <a:spcPts val="411"/>
              </a:spcBef>
              <a:spcAft>
                <a:spcPts val="600"/>
              </a:spcAft>
              <a:buClr>
                <a:schemeClr val="accent4">
                  <a:lumMod val="40000"/>
                  <a:lumOff val="60000"/>
                </a:schemeClr>
              </a:buClr>
              <a:buSzPct val="75000"/>
              <a:buFont typeface="Wingdings" pitchFamily="2" charset="2"/>
              <a:buChar char="n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 level 3</a:t>
            </a:r>
          </a:p>
          <a:p>
            <a:pPr marL="1146175" marR="0" lvl="3" indent="-200025" algn="l" defTabSz="913306" rtl="0" eaLnBrk="1" fontAlgn="auto" latinLnBrk="0" hangingPunct="1">
              <a:lnSpc>
                <a:spcPct val="112000"/>
              </a:lnSpc>
              <a:spcBef>
                <a:spcPts val="411"/>
              </a:spcBef>
              <a:spcAft>
                <a:spcPts val="600"/>
              </a:spcAft>
              <a:buClr>
                <a:schemeClr val="accent4">
                  <a:lumMod val="40000"/>
                  <a:lumOff val="60000"/>
                </a:schemeClr>
              </a:buClr>
              <a:buSzPct val="75000"/>
              <a:buFontTx/>
              <a:buChar char="-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 level 4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800" y="193889"/>
            <a:ext cx="11319933" cy="899381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4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4"/>
                </a:solidFill>
              </a:defRPr>
            </a:lvl2pPr>
          </a:lstStyle>
          <a:p>
            <a:pPr lvl="0"/>
            <a:r>
              <a:rPr lang="en-US" noProof="0"/>
              <a:t>TITLE</a:t>
            </a:r>
          </a:p>
          <a:p>
            <a:pPr lvl="1"/>
            <a:r>
              <a:rPr lang="en-US" noProof="0"/>
              <a:t>Sub-titl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 bwMode="gray">
          <a:xfrm>
            <a:off x="11405165" y="6524625"/>
            <a:ext cx="768348" cy="333375"/>
          </a:xfrm>
        </p:spPr>
        <p:txBody>
          <a:bodyPr/>
          <a:lstStyle>
            <a:lvl1pPr algn="ctr">
              <a:defRPr/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513178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CV des intervenants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ZoneTexte 3"/>
          <p:cNvSpPr txBox="1"/>
          <p:nvPr userDrawn="1"/>
        </p:nvSpPr>
        <p:spPr>
          <a:xfrm>
            <a:off x="431801" y="1193868"/>
            <a:ext cx="11328399" cy="3555932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normAutofit/>
          </a:bodyPr>
          <a:lstStyle/>
          <a:p>
            <a:endParaRPr lang="fr-FR" sz="1800"/>
          </a:p>
        </p:txBody>
      </p:sp>
      <p:sp>
        <p:nvSpPr>
          <p:cNvPr id="8" name="ZoneTexte 7"/>
          <p:cNvSpPr txBox="1"/>
          <p:nvPr userDrawn="1"/>
        </p:nvSpPr>
        <p:spPr>
          <a:xfrm>
            <a:off x="355600" y="6054725"/>
            <a:ext cx="11565467" cy="20955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rtlCol="0">
            <a:normAutofit fontScale="47500" lnSpcReduction="20000"/>
          </a:bodyPr>
          <a:lstStyle/>
          <a:p>
            <a:endParaRPr lang="fr-FR" sz="1800"/>
          </a:p>
        </p:txBody>
      </p:sp>
      <p:sp>
        <p:nvSpPr>
          <p:cNvPr id="5" name="ZoneTexte 4"/>
          <p:cNvSpPr txBox="1"/>
          <p:nvPr userDrawn="1"/>
        </p:nvSpPr>
        <p:spPr>
          <a:xfrm>
            <a:off x="431800" y="4867498"/>
            <a:ext cx="3648000" cy="1349152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normAutofit/>
          </a:bodyPr>
          <a:lstStyle/>
          <a:p>
            <a:endParaRPr lang="fr-FR" sz="1800"/>
          </a:p>
        </p:txBody>
      </p:sp>
      <p:sp>
        <p:nvSpPr>
          <p:cNvPr id="6" name="ZoneTexte 5"/>
          <p:cNvSpPr txBox="1"/>
          <p:nvPr userDrawn="1"/>
        </p:nvSpPr>
        <p:spPr>
          <a:xfrm>
            <a:off x="4271999" y="4867498"/>
            <a:ext cx="3648000" cy="1349152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normAutofit/>
          </a:bodyPr>
          <a:lstStyle/>
          <a:p>
            <a:endParaRPr lang="fr-FR" sz="1800"/>
          </a:p>
        </p:txBody>
      </p:sp>
      <p:sp>
        <p:nvSpPr>
          <p:cNvPr id="7" name="ZoneTexte 6"/>
          <p:cNvSpPr txBox="1"/>
          <p:nvPr userDrawn="1"/>
        </p:nvSpPr>
        <p:spPr>
          <a:xfrm>
            <a:off x="8112199" y="4867498"/>
            <a:ext cx="3648000" cy="1349152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normAutofit/>
          </a:bodyPr>
          <a:lstStyle/>
          <a:p>
            <a:endParaRPr lang="fr-FR" sz="1800"/>
          </a:p>
        </p:txBody>
      </p:sp>
      <p:sp>
        <p:nvSpPr>
          <p:cNvPr id="17" name="ZoneTexte 16"/>
          <p:cNvSpPr txBox="1"/>
          <p:nvPr userDrawn="1"/>
        </p:nvSpPr>
        <p:spPr>
          <a:xfrm>
            <a:off x="419669" y="4863153"/>
            <a:ext cx="36601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>
                <a:solidFill>
                  <a:srgbClr val="993300"/>
                </a:solidFill>
              </a:rPr>
              <a:t>Diplômes &amp; Langues</a:t>
            </a:r>
          </a:p>
        </p:txBody>
      </p:sp>
      <p:sp>
        <p:nvSpPr>
          <p:cNvPr id="18" name="ZoneTexte 17"/>
          <p:cNvSpPr txBox="1"/>
          <p:nvPr userDrawn="1"/>
        </p:nvSpPr>
        <p:spPr>
          <a:xfrm>
            <a:off x="4271997" y="4867499"/>
            <a:ext cx="36358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>
                <a:solidFill>
                  <a:srgbClr val="993300"/>
                </a:solidFill>
              </a:rPr>
              <a:t>Domaines de compétences</a:t>
            </a:r>
          </a:p>
        </p:txBody>
      </p:sp>
      <p:sp>
        <p:nvSpPr>
          <p:cNvPr id="19" name="ZoneTexte 18"/>
          <p:cNvSpPr txBox="1"/>
          <p:nvPr userDrawn="1"/>
        </p:nvSpPr>
        <p:spPr>
          <a:xfrm>
            <a:off x="8116997" y="4863152"/>
            <a:ext cx="36358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>
                <a:solidFill>
                  <a:srgbClr val="993300"/>
                </a:solidFill>
              </a:rPr>
              <a:t>Clients / Employeurs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1199614"/>
            <a:ext cx="11321067" cy="431800"/>
          </a:xfrm>
        </p:spPr>
        <p:txBody>
          <a:bodyPr anchor="ctr"/>
          <a:lstStyle>
            <a:lvl1pPr marL="108000" indent="0">
              <a:buNone/>
              <a:defRPr b="1" baseline="0">
                <a:solidFill>
                  <a:srgbClr val="993300"/>
                </a:solidFill>
              </a:defRPr>
            </a:lvl1pPr>
          </a:lstStyle>
          <a:p>
            <a:pPr lvl="0"/>
            <a:r>
              <a:rPr lang="fr-FR"/>
              <a:t>Toto, Consultant, 10 ans d’expérience</a:t>
            </a:r>
          </a:p>
        </p:txBody>
      </p:sp>
      <p:sp>
        <p:nvSpPr>
          <p:cNvPr id="28" name="Espace réservé du texte 27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631414"/>
            <a:ext cx="11322051" cy="3118386"/>
          </a:xfrm>
        </p:spPr>
        <p:txBody>
          <a:bodyPr>
            <a:normAutofit/>
          </a:bodyPr>
          <a:lstStyle>
            <a:lvl1pPr marL="65088" indent="0">
              <a:buNone/>
              <a:defRPr b="1" baseline="0"/>
            </a:lvl1pPr>
            <a:lvl2pPr>
              <a:spcBef>
                <a:spcPts val="0"/>
              </a:spcBef>
              <a:spcAft>
                <a:spcPts val="0"/>
              </a:spcAft>
              <a:defRPr baseline="0"/>
            </a:lvl2pPr>
            <a:lvl4pPr marL="536575" indent="-200025">
              <a:spcBef>
                <a:spcPts val="0"/>
              </a:spcBef>
              <a:spcAft>
                <a:spcPts val="0"/>
              </a:spcAft>
              <a:defRPr kumimoji="0" lang="fr-FR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536575" indent="-200025">
              <a:defRPr/>
            </a:lvl5pPr>
          </a:lstStyle>
          <a:p>
            <a:pPr lvl="0"/>
            <a:r>
              <a:rPr lang="fr-FR"/>
              <a:t>Compétences clés</a:t>
            </a:r>
          </a:p>
          <a:p>
            <a:pPr lvl="1"/>
            <a:r>
              <a:rPr lang="fr-FR"/>
              <a:t>Compétence 1</a:t>
            </a:r>
          </a:p>
          <a:p>
            <a:pPr lvl="1"/>
            <a:r>
              <a:rPr lang="fr-FR"/>
              <a:t>Compétence 2</a:t>
            </a:r>
          </a:p>
          <a:p>
            <a:pPr lvl="0"/>
            <a:r>
              <a:rPr lang="fr-FR"/>
              <a:t>Missions</a:t>
            </a:r>
          </a:p>
          <a:p>
            <a:pPr lvl="1"/>
            <a:r>
              <a:rPr lang="fr-FR"/>
              <a:t>mission 1</a:t>
            </a:r>
          </a:p>
          <a:p>
            <a:pPr lvl="1"/>
            <a:r>
              <a:rPr lang="fr-FR"/>
              <a:t>mission 2</a:t>
            </a:r>
          </a:p>
          <a:p>
            <a:pPr marL="752475" marR="0" lvl="3" indent="-200025" algn="l" defTabSz="913306" rtl="0" eaLnBrk="1" fontAlgn="auto" latinLnBrk="0" hangingPunct="1">
              <a:lnSpc>
                <a:spcPct val="112000"/>
              </a:lnSpc>
              <a:spcBef>
                <a:spcPts val="411"/>
              </a:spcBef>
              <a:spcAft>
                <a:spcPts val="600"/>
              </a:spcAft>
              <a:buClr>
                <a:schemeClr val="accent4">
                  <a:lumMod val="40000"/>
                  <a:lumOff val="60000"/>
                </a:schemeClr>
              </a:buClr>
              <a:buSzPct val="75000"/>
              <a:buFont typeface="Wingdings" pitchFamily="2" charset="2"/>
              <a:buChar char="n"/>
              <a:tabLst/>
              <a:defRPr/>
            </a:pPr>
            <a:r>
              <a:rPr lang="fr-FR"/>
              <a:t>Quatrième niveau</a:t>
            </a:r>
          </a:p>
        </p:txBody>
      </p:sp>
      <p:sp>
        <p:nvSpPr>
          <p:cNvPr id="30" name="Espace réservé du texte 29"/>
          <p:cNvSpPr>
            <a:spLocks noGrp="1"/>
          </p:cNvSpPr>
          <p:nvPr>
            <p:ph type="body" sz="quarter" idx="13"/>
          </p:nvPr>
        </p:nvSpPr>
        <p:spPr>
          <a:xfrm>
            <a:off x="419100" y="5170488"/>
            <a:ext cx="3659717" cy="1046162"/>
          </a:xfrm>
        </p:spPr>
        <p:txBody>
          <a:bodyPr anchor="ctr"/>
          <a:lstStyle>
            <a:lvl1pPr marL="269875" indent="-200025">
              <a:buClr>
                <a:schemeClr val="accent4"/>
              </a:buClr>
              <a:defRPr sz="110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1" name="Espace réservé du texte 29"/>
          <p:cNvSpPr>
            <a:spLocks noGrp="1"/>
          </p:cNvSpPr>
          <p:nvPr>
            <p:ph type="body" sz="quarter" idx="14"/>
          </p:nvPr>
        </p:nvSpPr>
        <p:spPr>
          <a:xfrm>
            <a:off x="4271999" y="5170488"/>
            <a:ext cx="3659717" cy="1046162"/>
          </a:xfrm>
        </p:spPr>
        <p:txBody>
          <a:bodyPr anchor="ctr"/>
          <a:lstStyle>
            <a:lvl1pPr marL="269875" indent="-200025">
              <a:buClr>
                <a:schemeClr val="accent4"/>
              </a:buClr>
              <a:defRPr sz="110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2" name="Espace réservé du texte 29"/>
          <p:cNvSpPr>
            <a:spLocks noGrp="1"/>
          </p:cNvSpPr>
          <p:nvPr>
            <p:ph type="body" sz="quarter" idx="15"/>
          </p:nvPr>
        </p:nvSpPr>
        <p:spPr>
          <a:xfrm>
            <a:off x="8100482" y="5160399"/>
            <a:ext cx="3659717" cy="1046162"/>
          </a:xfrm>
        </p:spPr>
        <p:txBody>
          <a:bodyPr numCol="2" anchor="ctr"/>
          <a:lstStyle>
            <a:lvl1pPr marL="269875" indent="-200025">
              <a:buClr>
                <a:schemeClr val="accent4"/>
              </a:buClr>
              <a:defRPr sz="1100"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7346103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che 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11" hasCustomPrompt="1"/>
          </p:nvPr>
        </p:nvSpPr>
        <p:spPr>
          <a:xfrm>
            <a:off x="8386234" y="224889"/>
            <a:ext cx="3373967" cy="863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fr-FR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6405504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56" name="Image 55"/>
          <p:cNvPicPr>
            <a:picLocks noChangeAspect="1"/>
          </p:cNvPicPr>
          <p:nvPr userDrawn="1"/>
        </p:nvPicPr>
        <p:blipFill rotWithShape="1">
          <a:blip r:embed="rId2"/>
          <a:srcRect l="80284" t="4546" b="4671"/>
          <a:stretch/>
        </p:blipFill>
        <p:spPr>
          <a:xfrm flipH="1">
            <a:off x="1830437" y="1490868"/>
            <a:ext cx="638103" cy="4380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3845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ga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Image 56"/>
          <p:cNvPicPr>
            <a:picLocks noChangeAspect="1"/>
          </p:cNvPicPr>
          <p:nvPr userDrawn="1"/>
        </p:nvPicPr>
        <p:blipFill rotWithShape="1">
          <a:blip r:embed="rId2"/>
          <a:srcRect r="19564"/>
          <a:stretch/>
        </p:blipFill>
        <p:spPr>
          <a:xfrm>
            <a:off x="1245514" y="-11942"/>
            <a:ext cx="10946487" cy="6869122"/>
          </a:xfrm>
          <a:prstGeom prst="rect">
            <a:avLst/>
          </a:prstGeom>
        </p:spPr>
      </p:pic>
      <p:sp>
        <p:nvSpPr>
          <p:cNvPr id="56" name="Forme libre 55"/>
          <p:cNvSpPr/>
          <p:nvPr userDrawn="1"/>
        </p:nvSpPr>
        <p:spPr>
          <a:xfrm rot="21245188">
            <a:off x="-463128" y="-32513"/>
            <a:ext cx="2245779" cy="7004725"/>
          </a:xfrm>
          <a:custGeom>
            <a:avLst/>
            <a:gdLst>
              <a:gd name="connsiteX0" fmla="*/ 1684334 w 1684334"/>
              <a:gd name="connsiteY0" fmla="*/ 101182 h 7004725"/>
              <a:gd name="connsiteX1" fmla="*/ 1684334 w 1684334"/>
              <a:gd name="connsiteY1" fmla="*/ 7004725 h 7004725"/>
              <a:gd name="connsiteX2" fmla="*/ 0 w 1684334"/>
              <a:gd name="connsiteY2" fmla="*/ 6830264 h 7004725"/>
              <a:gd name="connsiteX3" fmla="*/ 707470 w 1684334"/>
              <a:gd name="connsiteY3" fmla="*/ 0 h 7004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84334" h="7004725">
                <a:moveTo>
                  <a:pt x="1684334" y="101182"/>
                </a:moveTo>
                <a:lnTo>
                  <a:pt x="1684334" y="7004725"/>
                </a:lnTo>
                <a:lnTo>
                  <a:pt x="0" y="6830264"/>
                </a:lnTo>
                <a:lnTo>
                  <a:pt x="707470" y="0"/>
                </a:lnTo>
                <a:close/>
              </a:path>
            </a:pathLst>
          </a:custGeom>
          <a:solidFill>
            <a:srgbClr val="EF8E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2439"/>
          </a:p>
        </p:txBody>
      </p:sp>
      <p:sp>
        <p:nvSpPr>
          <p:cNvPr id="54" name="Forme libre 53"/>
          <p:cNvSpPr/>
          <p:nvPr userDrawn="1"/>
        </p:nvSpPr>
        <p:spPr>
          <a:xfrm rot="342133">
            <a:off x="-447082" y="-99986"/>
            <a:ext cx="2218795" cy="6998990"/>
          </a:xfrm>
          <a:custGeom>
            <a:avLst/>
            <a:gdLst>
              <a:gd name="connsiteX0" fmla="*/ 0 w 1664096"/>
              <a:gd name="connsiteY0" fmla="*/ 166164 h 6998990"/>
              <a:gd name="connsiteX1" fmla="*/ 1664096 w 1664096"/>
              <a:gd name="connsiteY1" fmla="*/ 0 h 6998990"/>
              <a:gd name="connsiteX2" fmla="*/ 1664096 w 1664096"/>
              <a:gd name="connsiteY2" fmla="*/ 6900953 h 6998990"/>
              <a:gd name="connsiteX3" fmla="*/ 682274 w 1664096"/>
              <a:gd name="connsiteY3" fmla="*/ 6998990 h 6998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64096" h="6998990">
                <a:moveTo>
                  <a:pt x="0" y="166164"/>
                </a:moveTo>
                <a:lnTo>
                  <a:pt x="1664096" y="0"/>
                </a:lnTo>
                <a:lnTo>
                  <a:pt x="1664096" y="6900953"/>
                </a:lnTo>
                <a:lnTo>
                  <a:pt x="682274" y="6998990"/>
                </a:lnTo>
                <a:close/>
              </a:path>
            </a:pathLst>
          </a:custGeom>
          <a:solidFill>
            <a:schemeClr val="bg1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2439"/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5268027" y="2359072"/>
            <a:ext cx="3473575" cy="1251088"/>
            <a:chOff x="4297302" y="2685405"/>
            <a:chExt cx="2605181" cy="1251088"/>
          </a:xfrm>
        </p:grpSpPr>
        <p:grpSp>
          <p:nvGrpSpPr>
            <p:cNvPr id="39" name="Groupe 38"/>
            <p:cNvGrpSpPr/>
            <p:nvPr userDrawn="1"/>
          </p:nvGrpSpPr>
          <p:grpSpPr>
            <a:xfrm>
              <a:off x="4297302" y="2685405"/>
              <a:ext cx="2605181" cy="892552"/>
              <a:chOff x="3878663" y="2685405"/>
              <a:chExt cx="2605181" cy="892552"/>
            </a:xfrm>
          </p:grpSpPr>
          <p:grpSp>
            <p:nvGrpSpPr>
              <p:cNvPr id="40" name="Groupe 39"/>
              <p:cNvGrpSpPr/>
              <p:nvPr userDrawn="1"/>
            </p:nvGrpSpPr>
            <p:grpSpPr>
              <a:xfrm>
                <a:off x="3878663" y="2685518"/>
                <a:ext cx="870932" cy="866178"/>
                <a:chOff x="3446122" y="373849"/>
                <a:chExt cx="6203754" cy="6169891"/>
              </a:xfrm>
            </p:grpSpPr>
            <p:sp>
              <p:nvSpPr>
                <p:cNvPr id="42" name="Secteurs 41"/>
                <p:cNvSpPr/>
                <p:nvPr/>
              </p:nvSpPr>
              <p:spPr>
                <a:xfrm>
                  <a:off x="3446122" y="373849"/>
                  <a:ext cx="6169891" cy="6169891"/>
                </a:xfrm>
                <a:prstGeom prst="pie">
                  <a:avLst>
                    <a:gd name="adj1" fmla="val 5409766"/>
                    <a:gd name="adj2" fmla="val 16200000"/>
                  </a:avLst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sz="180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43" name="Groupe 42"/>
                <p:cNvGrpSpPr/>
                <p:nvPr/>
              </p:nvGrpSpPr>
              <p:grpSpPr>
                <a:xfrm>
                  <a:off x="3471544" y="402336"/>
                  <a:ext cx="6122822" cy="6122822"/>
                  <a:chOff x="3471544" y="402336"/>
                  <a:chExt cx="6122822" cy="6122822"/>
                </a:xfrm>
              </p:grpSpPr>
              <p:sp>
                <p:nvSpPr>
                  <p:cNvPr id="47" name="Étoile à 4 branches 46"/>
                  <p:cNvSpPr>
                    <a:spLocks noChangeAspect="1"/>
                  </p:cNvSpPr>
                  <p:nvPr/>
                </p:nvSpPr>
                <p:spPr>
                  <a:xfrm rot="2700000">
                    <a:off x="4624955" y="1555747"/>
                    <a:ext cx="3816000" cy="3816000"/>
                  </a:xfrm>
                  <a:prstGeom prst="star4">
                    <a:avLst>
                      <a:gd name="adj" fmla="val 8438"/>
                    </a:avLst>
                  </a:pr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 sz="1800"/>
                  </a:p>
                </p:txBody>
              </p:sp>
              <p:sp>
                <p:nvSpPr>
                  <p:cNvPr id="48" name="Étoile à 4 branches 47"/>
                  <p:cNvSpPr/>
                  <p:nvPr/>
                </p:nvSpPr>
                <p:spPr>
                  <a:xfrm>
                    <a:off x="3471544" y="402336"/>
                    <a:ext cx="6122822" cy="6122822"/>
                  </a:xfrm>
                  <a:prstGeom prst="star4">
                    <a:avLst>
                      <a:gd name="adj" fmla="val 8438"/>
                    </a:avLst>
                  </a:prstGeom>
                  <a:solidFill>
                    <a:srgbClr val="FF99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 sz="1800"/>
                  </a:p>
                </p:txBody>
              </p:sp>
            </p:grpSp>
            <p:cxnSp>
              <p:nvCxnSpPr>
                <p:cNvPr id="44" name="Connecteur droit 43"/>
                <p:cNvCxnSpPr/>
                <p:nvPr/>
              </p:nvCxnSpPr>
              <p:spPr>
                <a:xfrm flipH="1">
                  <a:off x="3453626" y="373849"/>
                  <a:ext cx="3060000" cy="0"/>
                </a:xfrm>
                <a:prstGeom prst="line">
                  <a:avLst/>
                </a:prstGeom>
                <a:ln w="19050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Connecteur droit 44"/>
                <p:cNvCxnSpPr/>
                <p:nvPr/>
              </p:nvCxnSpPr>
              <p:spPr>
                <a:xfrm rot="16200000">
                  <a:off x="378247" y="3454169"/>
                  <a:ext cx="6156000" cy="0"/>
                </a:xfrm>
                <a:prstGeom prst="line">
                  <a:avLst/>
                </a:prstGeom>
                <a:ln w="19050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Connecteur droit 45"/>
                <p:cNvCxnSpPr/>
                <p:nvPr/>
              </p:nvCxnSpPr>
              <p:spPr>
                <a:xfrm flipH="1">
                  <a:off x="3457876" y="6534171"/>
                  <a:ext cx="6192000" cy="0"/>
                </a:xfrm>
                <a:prstGeom prst="line">
                  <a:avLst/>
                </a:prstGeom>
                <a:ln w="19050">
                  <a:solidFill>
                    <a:schemeClr val="tx1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1" name="ZoneTexte 40"/>
              <p:cNvSpPr txBox="1"/>
              <p:nvPr userDrawn="1"/>
            </p:nvSpPr>
            <p:spPr>
              <a:xfrm>
                <a:off x="4707877" y="2685405"/>
                <a:ext cx="1775967" cy="89255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2800" spc="1000" baseline="0">
                    <a:latin typeface="Century Gothic" panose="020B0502020202020204" pitchFamily="34" charset="0"/>
                  </a:rPr>
                  <a:t>axis</a:t>
                </a:r>
                <a:endParaRPr lang="fr-FR" sz="1800" spc="1000" baseline="0">
                  <a:latin typeface="Century Gothic" panose="020B0502020202020204" pitchFamily="34" charset="0"/>
                </a:endParaRPr>
              </a:p>
              <a:p>
                <a:r>
                  <a:rPr lang="fr-FR" sz="2400" spc="300">
                    <a:latin typeface="Century Gothic" panose="020B0502020202020204" pitchFamily="34" charset="0"/>
                  </a:rPr>
                  <a:t>alternatives</a:t>
                </a:r>
                <a:endParaRPr lang="fr-FR" sz="2000" spc="300">
                  <a:latin typeface="Century Gothic" panose="020B0502020202020204" pitchFamily="34" charset="0"/>
                </a:endParaRPr>
              </a:p>
            </p:txBody>
          </p:sp>
        </p:grpSp>
        <p:sp>
          <p:nvSpPr>
            <p:cNvPr id="49" name="Rectangle 48"/>
            <p:cNvSpPr/>
            <p:nvPr userDrawn="1"/>
          </p:nvSpPr>
          <p:spPr>
            <a:xfrm>
              <a:off x="4300871" y="3567161"/>
              <a:ext cx="2354732" cy="369332"/>
            </a:xfrm>
            <a:prstGeom prst="rect">
              <a:avLst/>
            </a:prstGeom>
          </p:spPr>
          <p:txBody>
            <a:bodyPr wrap="none" lIns="0">
              <a:spAutoFit/>
            </a:bodyPr>
            <a:lstStyle/>
            <a:p>
              <a:r>
                <a:rPr lang="fr-FR" sz="1800">
                  <a:solidFill>
                    <a:schemeClr val="bg1"/>
                  </a:solidFill>
                  <a:latin typeface="Century Gothic" panose="020B0502020202020204" pitchFamily="34" charset="0"/>
                </a:rPr>
                <a:t>www.axis alternatives.com </a:t>
              </a:r>
              <a:endParaRPr lang="fr-FR" sz="1800"/>
            </a:p>
          </p:txBody>
        </p:sp>
      </p:grpSp>
      <p:sp>
        <p:nvSpPr>
          <p:cNvPr id="50" name="Rectangle 49"/>
          <p:cNvSpPr/>
          <p:nvPr userDrawn="1"/>
        </p:nvSpPr>
        <p:spPr>
          <a:xfrm>
            <a:off x="2809346" y="3943102"/>
            <a:ext cx="9382655" cy="2196341"/>
          </a:xfrm>
          <a:prstGeom prst="rect">
            <a:avLst/>
          </a:prstGeom>
          <a:solidFill>
            <a:schemeClr val="bg1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789921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AXIS ALTERNATIVE Tit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2732" y="0"/>
            <a:ext cx="1649268" cy="6235708"/>
          </a:xfrm>
          <a:prstGeom prst="rect">
            <a:avLst/>
          </a:prstGeom>
        </p:spPr>
      </p:pic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E7ED6573-59BA-471B-B779-C716F5D450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86038" y="1219200"/>
            <a:ext cx="8989997" cy="4622800"/>
          </a:xfrm>
        </p:spPr>
        <p:txBody>
          <a:bodyPr anchor="ctr"/>
          <a:lstStyle>
            <a:lvl1pPr marL="0" indent="0" algn="r">
              <a:buNone/>
              <a:defRPr sz="3200" cap="all" baseline="0">
                <a:solidFill>
                  <a:schemeClr val="tx1"/>
                </a:solidFill>
              </a:defRPr>
            </a:lvl1pPr>
            <a:lvl2pPr marL="457200" indent="0" algn="r">
              <a:buNone/>
              <a:defRPr>
                <a:solidFill>
                  <a:schemeClr val="tx1"/>
                </a:solidFill>
              </a:defRPr>
            </a:lvl2pPr>
            <a:lvl3pPr algn="r">
              <a:defRPr/>
            </a:lvl3pPr>
            <a:lvl4pPr algn="r">
              <a:defRPr/>
            </a:lvl4pPr>
            <a:lvl5pPr marL="1828800" indent="0" algn="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TITRE (MAJUSCULES AVEC ACCENTS)</a:t>
            </a:r>
          </a:p>
          <a:p>
            <a:pPr lvl="1"/>
            <a:r>
              <a:rPr lang="fr-FR"/>
              <a:t>Sous-titre (Minuscules)</a:t>
            </a:r>
          </a:p>
          <a:p>
            <a:pPr lvl="4"/>
            <a:endParaRPr lang="fr-FR"/>
          </a:p>
          <a:p>
            <a:pPr lvl="4"/>
            <a:r>
              <a:rPr lang="fr-FR"/>
              <a:t>Nom du client, date (jj/mm/</a:t>
            </a:r>
            <a:r>
              <a:rPr lang="fr-FR" err="1"/>
              <a:t>aaaa</a:t>
            </a:r>
            <a:r>
              <a:rPr lang="fr-FR"/>
              <a:t>)</a:t>
            </a:r>
            <a:endParaRPr lang="en-US"/>
          </a:p>
        </p:txBody>
      </p:sp>
      <p:pic>
        <p:nvPicPr>
          <p:cNvPr id="20" name="Image 27">
            <a:extLst>
              <a:ext uri="{FF2B5EF4-FFF2-40B4-BE49-F238E27FC236}">
                <a16:creationId xmlns:a16="http://schemas.microsoft.com/office/drawing/2014/main" id="{8FD07312-F352-41FF-A2AB-D9F36659D2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1555" y="6307193"/>
            <a:ext cx="1497600" cy="479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964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AXIS ALTERNATIVE 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838200" y="949865"/>
            <a:ext cx="10581860" cy="4969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2400" i="1" kern="1200" dirty="0" smtClean="0">
                <a:solidFill>
                  <a:srgbClr val="F0820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1143000" indent="-228600">
              <a:buClr>
                <a:srgbClr val="ED6624"/>
              </a:buClr>
              <a:buFont typeface="Wingdings" panose="05000000000000000000" pitchFamily="2" charset="2"/>
              <a:buChar char="§"/>
              <a:defRPr/>
            </a:lvl3pPr>
            <a:lvl4pPr>
              <a:buClr>
                <a:schemeClr val="bg1">
                  <a:lumMod val="50000"/>
                </a:schemeClr>
              </a:buClr>
              <a:defRPr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Catch phras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838200" y="89451"/>
            <a:ext cx="10581860" cy="720000"/>
          </a:xfrm>
        </p:spPr>
        <p:txBody>
          <a:bodyPr anchor="b">
            <a:normAutofit/>
          </a:bodyPr>
          <a:lstStyle>
            <a:lvl1pPr>
              <a:defRPr sz="3200" b="0" cap="all" baseline="0">
                <a:latin typeface="+mn-lt"/>
              </a:defRPr>
            </a:lvl1pPr>
          </a:lstStyle>
          <a:p>
            <a:r>
              <a:rPr lang="fr-FR"/>
              <a:t>TITRE / MESSAGE (MAJ, ACCENTS, UNE SEULE LIGNE)</a:t>
            </a:r>
          </a:p>
        </p:txBody>
      </p:sp>
      <p:cxnSp>
        <p:nvCxnSpPr>
          <p:cNvPr id="9" name="Connecteur droit 8"/>
          <p:cNvCxnSpPr>
            <a:cxnSpLocks/>
          </p:cNvCxnSpPr>
          <p:nvPr userDrawn="1"/>
        </p:nvCxnSpPr>
        <p:spPr>
          <a:xfrm flipH="1">
            <a:off x="818147" y="860244"/>
            <a:ext cx="11373853" cy="0"/>
          </a:xfrm>
          <a:prstGeom prst="line">
            <a:avLst/>
          </a:prstGeom>
          <a:ln w="6350">
            <a:solidFill>
              <a:srgbClr val="F08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contenu 2"/>
          <p:cNvSpPr>
            <a:spLocks noGrp="1"/>
          </p:cNvSpPr>
          <p:nvPr>
            <p:ph idx="13" hasCustomPrompt="1"/>
          </p:nvPr>
        </p:nvSpPr>
        <p:spPr>
          <a:xfrm>
            <a:off x="838199" y="1595361"/>
            <a:ext cx="10581861" cy="440239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F08200"/>
              </a:buClr>
              <a:buFont typeface="Wingdings" panose="05000000000000000000" pitchFamily="2" charset="2"/>
              <a:buChar char="§"/>
              <a:defRPr sz="1600"/>
            </a:lvl2pPr>
            <a:lvl3pPr marL="11430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Clr>
                <a:srgbClr val="F08200"/>
              </a:buClr>
              <a:buFont typeface="Courier New" panose="02070309020205020404" pitchFamily="49" charset="0"/>
              <a:buChar char="o"/>
              <a:defRPr sz="1600"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Premier niveau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0"/>
            <a:endParaRPr lang="fr-FR"/>
          </a:p>
          <a:p>
            <a:pPr lvl="0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4D984FA-4E61-4CE3-B98F-02227AB979FA}"/>
              </a:ext>
            </a:extLst>
          </p:cNvPr>
          <p:cNvSpPr/>
          <p:nvPr userDrawn="1"/>
        </p:nvSpPr>
        <p:spPr>
          <a:xfrm>
            <a:off x="0" y="6246000"/>
            <a:ext cx="12192000" cy="612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0B405EDC-1E32-4B90-9CE5-392C8CD06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0061" y="6246000"/>
            <a:ext cx="771939" cy="612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317D9236-8631-4EC5-863A-395526DEF96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24" name="Image 27">
            <a:extLst>
              <a:ext uri="{FF2B5EF4-FFF2-40B4-BE49-F238E27FC236}">
                <a16:creationId xmlns:a16="http://schemas.microsoft.com/office/drawing/2014/main" id="{8FD07312-F352-41FF-A2AB-D9F36659D2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7200" y="6312339"/>
            <a:ext cx="1497600" cy="479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0238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AXIS ALTERNATIVE  Titre et 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838200" y="949865"/>
            <a:ext cx="5040000" cy="4969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2400" i="1" kern="1200" dirty="0" smtClean="0">
                <a:solidFill>
                  <a:srgbClr val="F0820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1143000" indent="-228600">
              <a:buClr>
                <a:srgbClr val="ED6624"/>
              </a:buClr>
              <a:buFont typeface="Wingdings" panose="05000000000000000000" pitchFamily="2" charset="2"/>
              <a:buChar char="§"/>
              <a:defRPr/>
            </a:lvl3pPr>
            <a:lvl4pPr>
              <a:buClr>
                <a:schemeClr val="bg1">
                  <a:lumMod val="50000"/>
                </a:schemeClr>
              </a:buClr>
              <a:defRPr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Catch phras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838200" y="89451"/>
            <a:ext cx="10581860" cy="720000"/>
          </a:xfrm>
        </p:spPr>
        <p:txBody>
          <a:bodyPr anchor="b">
            <a:normAutofit/>
          </a:bodyPr>
          <a:lstStyle>
            <a:lvl1pPr>
              <a:defRPr sz="3200" b="0" cap="all" baseline="0">
                <a:latin typeface="+mn-lt"/>
              </a:defRPr>
            </a:lvl1pPr>
          </a:lstStyle>
          <a:p>
            <a:r>
              <a:rPr lang="fr-FR"/>
              <a:t>TITRE / MESSAGE (MAJ, ACCENTS, UNE SEULE LIGNE)</a:t>
            </a:r>
          </a:p>
        </p:txBody>
      </p:sp>
      <p:cxnSp>
        <p:nvCxnSpPr>
          <p:cNvPr id="9" name="Connecteur droit 8"/>
          <p:cNvCxnSpPr>
            <a:cxnSpLocks/>
          </p:cNvCxnSpPr>
          <p:nvPr userDrawn="1"/>
        </p:nvCxnSpPr>
        <p:spPr>
          <a:xfrm flipH="1">
            <a:off x="818147" y="860244"/>
            <a:ext cx="11373853" cy="0"/>
          </a:xfrm>
          <a:prstGeom prst="line">
            <a:avLst/>
          </a:prstGeom>
          <a:ln w="6350">
            <a:solidFill>
              <a:srgbClr val="F08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contenu 2"/>
          <p:cNvSpPr>
            <a:spLocks noGrp="1"/>
          </p:cNvSpPr>
          <p:nvPr>
            <p:ph idx="13" hasCustomPrompt="1"/>
          </p:nvPr>
        </p:nvSpPr>
        <p:spPr>
          <a:xfrm>
            <a:off x="838199" y="1595361"/>
            <a:ext cx="5040000" cy="440239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F08200"/>
              </a:buClr>
              <a:buFont typeface="Wingdings" panose="05000000000000000000" pitchFamily="2" charset="2"/>
              <a:buChar char="§"/>
              <a:defRPr sz="1600"/>
            </a:lvl2pPr>
            <a:lvl3pPr marL="11430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Clr>
                <a:srgbClr val="F08200"/>
              </a:buClr>
              <a:buFont typeface="Courier New" panose="02070309020205020404" pitchFamily="49" charset="0"/>
              <a:buChar char="o"/>
              <a:defRPr sz="1600"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Premier niveau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0"/>
            <a:endParaRPr lang="fr-FR"/>
          </a:p>
          <a:p>
            <a:pPr lvl="0"/>
            <a:endParaRPr lang="fr-FR"/>
          </a:p>
        </p:txBody>
      </p:sp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id="{2FDD3211-3BD2-4F4F-ADF4-EC6EB3294293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380060" y="949865"/>
            <a:ext cx="5040000" cy="4969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2400" i="1" kern="1200" dirty="0" smtClean="0">
                <a:solidFill>
                  <a:srgbClr val="F0820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1143000" indent="-228600">
              <a:buClr>
                <a:srgbClr val="ED6624"/>
              </a:buClr>
              <a:buFont typeface="Wingdings" panose="05000000000000000000" pitchFamily="2" charset="2"/>
              <a:buChar char="§"/>
              <a:defRPr/>
            </a:lvl3pPr>
            <a:lvl4pPr>
              <a:buClr>
                <a:schemeClr val="bg1">
                  <a:lumMod val="50000"/>
                </a:schemeClr>
              </a:buClr>
              <a:defRPr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Catch phrase</a:t>
            </a:r>
          </a:p>
        </p:txBody>
      </p:sp>
      <p:sp>
        <p:nvSpPr>
          <p:cNvPr id="11" name="Espace réservé du contenu 2">
            <a:extLst>
              <a:ext uri="{FF2B5EF4-FFF2-40B4-BE49-F238E27FC236}">
                <a16:creationId xmlns:a16="http://schemas.microsoft.com/office/drawing/2014/main" id="{56C8D7CE-7B84-43AB-BCA1-660958309FF3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80059" y="1595361"/>
            <a:ext cx="5040000" cy="440239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F08200"/>
              </a:buClr>
              <a:buFont typeface="Wingdings" panose="05000000000000000000" pitchFamily="2" charset="2"/>
              <a:buChar char="§"/>
              <a:defRPr sz="1600"/>
            </a:lvl2pPr>
            <a:lvl3pPr marL="11430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Clr>
                <a:srgbClr val="F08200"/>
              </a:buClr>
              <a:buFont typeface="Courier New" panose="02070309020205020404" pitchFamily="49" charset="0"/>
              <a:buChar char="o"/>
              <a:defRPr sz="1600"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Premier niveau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0"/>
            <a:endParaRPr lang="fr-FR"/>
          </a:p>
          <a:p>
            <a:pPr lvl="0"/>
            <a:endParaRPr lang="fr-FR"/>
          </a:p>
        </p:txBody>
      </p: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FA707838-3E4F-4143-AEB7-D6DC36AC9BFC}"/>
              </a:ext>
            </a:extLst>
          </p:cNvPr>
          <p:cNvCxnSpPr>
            <a:cxnSpLocks/>
          </p:cNvCxnSpPr>
          <p:nvPr userDrawn="1"/>
        </p:nvCxnSpPr>
        <p:spPr>
          <a:xfrm>
            <a:off x="6129129" y="949865"/>
            <a:ext cx="0" cy="5047888"/>
          </a:xfrm>
          <a:prstGeom prst="line">
            <a:avLst/>
          </a:prstGeom>
          <a:ln>
            <a:solidFill>
              <a:srgbClr val="64328A">
                <a:alpha val="50196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84D984FA-4E61-4CE3-B98F-02227AB979FA}"/>
              </a:ext>
            </a:extLst>
          </p:cNvPr>
          <p:cNvSpPr/>
          <p:nvPr userDrawn="1"/>
        </p:nvSpPr>
        <p:spPr>
          <a:xfrm>
            <a:off x="0" y="6246000"/>
            <a:ext cx="12192000" cy="612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Espace réservé du numéro de diapositive 5">
            <a:extLst>
              <a:ext uri="{FF2B5EF4-FFF2-40B4-BE49-F238E27FC236}">
                <a16:creationId xmlns:a16="http://schemas.microsoft.com/office/drawing/2014/main" id="{0B405EDC-1E32-4B90-9CE5-392C8CD06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0061" y="6246000"/>
            <a:ext cx="771939" cy="612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317D9236-8631-4EC5-863A-395526DEF96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22" name="Image 27">
            <a:extLst>
              <a:ext uri="{FF2B5EF4-FFF2-40B4-BE49-F238E27FC236}">
                <a16:creationId xmlns:a16="http://schemas.microsoft.com/office/drawing/2014/main" id="{8FD07312-F352-41FF-A2AB-D9F36659D2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7200" y="6312339"/>
            <a:ext cx="1497600" cy="479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779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AXIS ALTERNATIVE  Titre et contenu_chiffres clés a 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7" y="860228"/>
            <a:ext cx="2878042" cy="5375479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250096" y="949865"/>
            <a:ext cx="8171764" cy="4969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2400" i="1" kern="1200" dirty="0" smtClean="0">
                <a:solidFill>
                  <a:srgbClr val="F0820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1143000" indent="-228600">
              <a:buClr>
                <a:srgbClr val="ED6624"/>
              </a:buClr>
              <a:buFont typeface="Wingdings" panose="05000000000000000000" pitchFamily="2" charset="2"/>
              <a:buChar char="§"/>
              <a:defRPr/>
            </a:lvl3pPr>
            <a:lvl4pPr>
              <a:buClr>
                <a:schemeClr val="bg1">
                  <a:lumMod val="50000"/>
                </a:schemeClr>
              </a:buClr>
              <a:defRPr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Catch phras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838200" y="89451"/>
            <a:ext cx="10581860" cy="720000"/>
          </a:xfrm>
        </p:spPr>
        <p:txBody>
          <a:bodyPr anchor="b">
            <a:normAutofit/>
          </a:bodyPr>
          <a:lstStyle>
            <a:lvl1pPr>
              <a:defRPr sz="3200" b="0" cap="all" baseline="0">
                <a:latin typeface="+mn-lt"/>
              </a:defRPr>
            </a:lvl1pPr>
          </a:lstStyle>
          <a:p>
            <a:r>
              <a:rPr lang="fr-FR"/>
              <a:t>TITRE / MESSAGE (MAJ, ACCENTS, UNE SEULE LIGNE)</a:t>
            </a:r>
          </a:p>
        </p:txBody>
      </p:sp>
      <p:cxnSp>
        <p:nvCxnSpPr>
          <p:cNvPr id="9" name="Connecteur droit 8"/>
          <p:cNvCxnSpPr>
            <a:cxnSpLocks/>
          </p:cNvCxnSpPr>
          <p:nvPr userDrawn="1"/>
        </p:nvCxnSpPr>
        <p:spPr>
          <a:xfrm flipH="1">
            <a:off x="818147" y="860244"/>
            <a:ext cx="11373853" cy="0"/>
          </a:xfrm>
          <a:prstGeom prst="line">
            <a:avLst/>
          </a:prstGeom>
          <a:ln w="6350">
            <a:solidFill>
              <a:srgbClr val="F08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contenu 2"/>
          <p:cNvSpPr>
            <a:spLocks noGrp="1"/>
          </p:cNvSpPr>
          <p:nvPr>
            <p:ph idx="13" hasCustomPrompt="1"/>
          </p:nvPr>
        </p:nvSpPr>
        <p:spPr>
          <a:xfrm>
            <a:off x="3250096" y="1595361"/>
            <a:ext cx="8171764" cy="440239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F08200"/>
              </a:buClr>
              <a:buFont typeface="Wingdings" panose="05000000000000000000" pitchFamily="2" charset="2"/>
              <a:buChar char="§"/>
              <a:defRPr sz="1600"/>
            </a:lvl2pPr>
            <a:lvl3pPr marL="11430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Clr>
                <a:srgbClr val="F08200"/>
              </a:buClr>
              <a:buFont typeface="Courier New" panose="02070309020205020404" pitchFamily="49" charset="0"/>
              <a:buChar char="o"/>
              <a:defRPr sz="1600"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Premier niveau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0"/>
            <a:endParaRPr lang="fr-FR"/>
          </a:p>
          <a:p>
            <a:pPr lvl="0"/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68C10272-6F68-4C2C-81D4-A4C8C89DFF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9999" y="1245007"/>
            <a:ext cx="2340000" cy="461621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fr-FR" sz="1600" i="1" smtClean="0">
                <a:solidFill>
                  <a:schemeClr val="bg1"/>
                </a:solidFill>
              </a:defRPr>
            </a:lvl1pPr>
            <a:lvl2pPr>
              <a:defRPr lang="fr-FR" sz="1600" smtClean="0">
                <a:solidFill>
                  <a:schemeClr val="bg1"/>
                </a:solidFill>
              </a:defRPr>
            </a:lvl2pPr>
            <a:lvl3pPr>
              <a:defRPr lang="fr-FR" sz="1600" smtClean="0">
                <a:solidFill>
                  <a:schemeClr val="bg1"/>
                </a:solidFill>
              </a:defRPr>
            </a:lvl3pPr>
            <a:lvl4pPr>
              <a:defRPr lang="fr-FR" sz="1600" smtClean="0">
                <a:solidFill>
                  <a:schemeClr val="bg1"/>
                </a:solidFill>
              </a:defRPr>
            </a:lvl4pPr>
            <a:lvl5pPr>
              <a:defRPr lang="en-US">
                <a:solidFill>
                  <a:schemeClr val="bg1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fr-FR"/>
              <a:t>Chiffres clés, résumé des points essentiels, citation, information complémentaire…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4D984FA-4E61-4CE3-B98F-02227AB979FA}"/>
              </a:ext>
            </a:extLst>
          </p:cNvPr>
          <p:cNvSpPr/>
          <p:nvPr userDrawn="1"/>
        </p:nvSpPr>
        <p:spPr>
          <a:xfrm>
            <a:off x="0" y="6246000"/>
            <a:ext cx="12192000" cy="612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id="{0B405EDC-1E32-4B90-9CE5-392C8CD06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0061" y="6246000"/>
            <a:ext cx="771939" cy="612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317D9236-8631-4EC5-863A-395526DEF96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20" name="Image 27">
            <a:extLst>
              <a:ext uri="{FF2B5EF4-FFF2-40B4-BE49-F238E27FC236}">
                <a16:creationId xmlns:a16="http://schemas.microsoft.com/office/drawing/2014/main" id="{8FD07312-F352-41FF-A2AB-D9F36659D2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7200" y="6312339"/>
            <a:ext cx="1497600" cy="479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3083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AXIS ALTERNATIVE  Titre et contenu_chiffres clés a 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3958" y="860228"/>
            <a:ext cx="2878042" cy="5375479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838200" y="949865"/>
            <a:ext cx="8171764" cy="4969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2400" i="1" kern="1200" dirty="0" smtClean="0">
                <a:solidFill>
                  <a:srgbClr val="F0820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1143000" indent="-228600">
              <a:buClr>
                <a:srgbClr val="ED6624"/>
              </a:buClr>
              <a:buFont typeface="Wingdings" panose="05000000000000000000" pitchFamily="2" charset="2"/>
              <a:buChar char="§"/>
              <a:defRPr/>
            </a:lvl3pPr>
            <a:lvl4pPr>
              <a:buClr>
                <a:schemeClr val="bg1">
                  <a:lumMod val="50000"/>
                </a:schemeClr>
              </a:buClr>
              <a:defRPr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Catch phras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838200" y="89451"/>
            <a:ext cx="10581860" cy="720000"/>
          </a:xfrm>
        </p:spPr>
        <p:txBody>
          <a:bodyPr anchor="b">
            <a:normAutofit/>
          </a:bodyPr>
          <a:lstStyle>
            <a:lvl1pPr>
              <a:defRPr sz="3200" b="0" cap="all" baseline="0">
                <a:latin typeface="+mn-lt"/>
              </a:defRPr>
            </a:lvl1pPr>
          </a:lstStyle>
          <a:p>
            <a:r>
              <a:rPr lang="fr-FR"/>
              <a:t>TITRE / MESSAGE (MAJ, ACCENTS, UNE SEULE LIGNE)</a:t>
            </a:r>
          </a:p>
        </p:txBody>
      </p:sp>
      <p:cxnSp>
        <p:nvCxnSpPr>
          <p:cNvPr id="9" name="Connecteur droit 8"/>
          <p:cNvCxnSpPr>
            <a:cxnSpLocks/>
          </p:cNvCxnSpPr>
          <p:nvPr userDrawn="1"/>
        </p:nvCxnSpPr>
        <p:spPr>
          <a:xfrm flipH="1">
            <a:off x="818147" y="860244"/>
            <a:ext cx="11373853" cy="0"/>
          </a:xfrm>
          <a:prstGeom prst="line">
            <a:avLst/>
          </a:prstGeom>
          <a:ln w="6350">
            <a:solidFill>
              <a:srgbClr val="F08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contenu 2"/>
          <p:cNvSpPr>
            <a:spLocks noGrp="1"/>
          </p:cNvSpPr>
          <p:nvPr>
            <p:ph idx="13" hasCustomPrompt="1"/>
          </p:nvPr>
        </p:nvSpPr>
        <p:spPr>
          <a:xfrm>
            <a:off x="838200" y="1595361"/>
            <a:ext cx="8171764" cy="440239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F08200"/>
              </a:buClr>
              <a:buFont typeface="Wingdings" panose="05000000000000000000" pitchFamily="2" charset="2"/>
              <a:buChar char="§"/>
              <a:defRPr sz="1600"/>
            </a:lvl2pPr>
            <a:lvl3pPr marL="11430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Clr>
                <a:srgbClr val="F08200"/>
              </a:buClr>
              <a:buFont typeface="Courier New" panose="02070309020205020404" pitchFamily="49" charset="0"/>
              <a:buChar char="o"/>
              <a:defRPr sz="1600"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Premier niveau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0"/>
            <a:endParaRPr lang="fr-FR"/>
          </a:p>
          <a:p>
            <a:pPr lvl="0"/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68C10272-6F68-4C2C-81D4-A4C8C89DFF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582000" y="1245013"/>
            <a:ext cx="2340000" cy="461621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fr-FR" sz="1600" i="1" smtClean="0">
                <a:solidFill>
                  <a:schemeClr val="bg1"/>
                </a:solidFill>
              </a:defRPr>
            </a:lvl1pPr>
            <a:lvl2pPr>
              <a:defRPr lang="fr-FR" sz="1600" smtClean="0">
                <a:solidFill>
                  <a:schemeClr val="bg1"/>
                </a:solidFill>
              </a:defRPr>
            </a:lvl2pPr>
            <a:lvl3pPr>
              <a:defRPr lang="fr-FR" sz="1600" smtClean="0">
                <a:solidFill>
                  <a:schemeClr val="bg1"/>
                </a:solidFill>
              </a:defRPr>
            </a:lvl3pPr>
            <a:lvl4pPr>
              <a:defRPr lang="fr-FR" sz="1600" smtClean="0">
                <a:solidFill>
                  <a:schemeClr val="bg1"/>
                </a:solidFill>
              </a:defRPr>
            </a:lvl4pPr>
            <a:lvl5pPr>
              <a:defRPr lang="en-US">
                <a:solidFill>
                  <a:schemeClr val="bg1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fr-FR"/>
              <a:t>Chiffres clés, résumé des points essentiels, citation, information complémentaire…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4D984FA-4E61-4CE3-B98F-02227AB979FA}"/>
              </a:ext>
            </a:extLst>
          </p:cNvPr>
          <p:cNvSpPr/>
          <p:nvPr userDrawn="1"/>
        </p:nvSpPr>
        <p:spPr>
          <a:xfrm>
            <a:off x="0" y="6246000"/>
            <a:ext cx="12192000" cy="612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id="{0B405EDC-1E32-4B90-9CE5-392C8CD06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0061" y="6246000"/>
            <a:ext cx="771939" cy="612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317D9236-8631-4EC5-863A-395526DEF96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20" name="Image 27">
            <a:extLst>
              <a:ext uri="{FF2B5EF4-FFF2-40B4-BE49-F238E27FC236}">
                <a16:creationId xmlns:a16="http://schemas.microsoft.com/office/drawing/2014/main" id="{8FD07312-F352-41FF-A2AB-D9F36659D2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7200" y="6312339"/>
            <a:ext cx="1497600" cy="479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0917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AXIS ALTERNATIVE Titre et contenu_2 colonnes avec illustration ou tableau a 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838200" y="949865"/>
            <a:ext cx="5040000" cy="4969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2400" i="1" kern="1200" dirty="0" smtClean="0">
                <a:solidFill>
                  <a:srgbClr val="F0820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1143000" indent="-228600">
              <a:buClr>
                <a:srgbClr val="ED6624"/>
              </a:buClr>
              <a:buFont typeface="Wingdings" panose="05000000000000000000" pitchFamily="2" charset="2"/>
              <a:buChar char="§"/>
              <a:defRPr/>
            </a:lvl3pPr>
            <a:lvl4pPr>
              <a:buClr>
                <a:schemeClr val="bg1">
                  <a:lumMod val="50000"/>
                </a:schemeClr>
              </a:buClr>
              <a:defRPr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Catch phras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838200" y="89451"/>
            <a:ext cx="10581860" cy="720000"/>
          </a:xfrm>
        </p:spPr>
        <p:txBody>
          <a:bodyPr anchor="b">
            <a:normAutofit/>
          </a:bodyPr>
          <a:lstStyle>
            <a:lvl1pPr>
              <a:defRPr sz="3200" b="0" cap="all" baseline="0">
                <a:latin typeface="+mn-lt"/>
              </a:defRPr>
            </a:lvl1pPr>
          </a:lstStyle>
          <a:p>
            <a:r>
              <a:rPr lang="fr-FR"/>
              <a:t>TITRE / MESSAGE (MAJ, ACCENTS, UNE SEULE LIGNE)</a:t>
            </a:r>
          </a:p>
        </p:txBody>
      </p:sp>
      <p:cxnSp>
        <p:nvCxnSpPr>
          <p:cNvPr id="9" name="Connecteur droit 8"/>
          <p:cNvCxnSpPr>
            <a:cxnSpLocks/>
          </p:cNvCxnSpPr>
          <p:nvPr userDrawn="1"/>
        </p:nvCxnSpPr>
        <p:spPr>
          <a:xfrm flipH="1">
            <a:off x="818147" y="860244"/>
            <a:ext cx="11373853" cy="0"/>
          </a:xfrm>
          <a:prstGeom prst="line">
            <a:avLst/>
          </a:prstGeom>
          <a:ln w="6350">
            <a:solidFill>
              <a:srgbClr val="F08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contenu 2"/>
          <p:cNvSpPr>
            <a:spLocks noGrp="1"/>
          </p:cNvSpPr>
          <p:nvPr>
            <p:ph idx="13" hasCustomPrompt="1"/>
          </p:nvPr>
        </p:nvSpPr>
        <p:spPr>
          <a:xfrm>
            <a:off x="838199" y="1595361"/>
            <a:ext cx="5040000" cy="44023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64328A"/>
              </a:buClr>
              <a:buFont typeface="Wingdings" panose="05000000000000000000" pitchFamily="2" charset="2"/>
              <a:buChar char="§"/>
              <a:defRPr sz="1600"/>
            </a:lvl2pPr>
            <a:lvl3pPr marL="11430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Clr>
                <a:srgbClr val="64328A"/>
              </a:buClr>
              <a:buFont typeface="Courier New" panose="02070309020205020404" pitchFamily="49" charset="0"/>
              <a:buChar char="o"/>
              <a:defRPr sz="1600"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Illustration, schéma, tableau…</a:t>
            </a:r>
          </a:p>
        </p:txBody>
      </p:sp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id="{2FDD3211-3BD2-4F4F-ADF4-EC6EB3294293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380060" y="949865"/>
            <a:ext cx="5040000" cy="4969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2400" i="1" kern="1200" dirty="0" smtClean="0">
                <a:solidFill>
                  <a:srgbClr val="F0820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1143000" indent="-228600">
              <a:buClr>
                <a:srgbClr val="ED6624"/>
              </a:buClr>
              <a:buFont typeface="Wingdings" panose="05000000000000000000" pitchFamily="2" charset="2"/>
              <a:buChar char="§"/>
              <a:defRPr/>
            </a:lvl3pPr>
            <a:lvl4pPr>
              <a:buClr>
                <a:schemeClr val="bg1">
                  <a:lumMod val="50000"/>
                </a:schemeClr>
              </a:buClr>
              <a:defRPr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Catch phrase</a:t>
            </a:r>
          </a:p>
        </p:txBody>
      </p:sp>
      <p:sp>
        <p:nvSpPr>
          <p:cNvPr id="11" name="Espace réservé du contenu 2">
            <a:extLst>
              <a:ext uri="{FF2B5EF4-FFF2-40B4-BE49-F238E27FC236}">
                <a16:creationId xmlns:a16="http://schemas.microsoft.com/office/drawing/2014/main" id="{56C8D7CE-7B84-43AB-BCA1-660958309FF3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80059" y="1595361"/>
            <a:ext cx="5040000" cy="440239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F08200"/>
              </a:buClr>
              <a:buFont typeface="Wingdings" panose="05000000000000000000" pitchFamily="2" charset="2"/>
              <a:buChar char="§"/>
              <a:defRPr sz="1600"/>
            </a:lvl2pPr>
            <a:lvl3pPr marL="11430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Clr>
                <a:srgbClr val="F08200"/>
              </a:buClr>
              <a:buFont typeface="Courier New" panose="02070309020205020404" pitchFamily="49" charset="0"/>
              <a:buChar char="o"/>
              <a:defRPr sz="1600"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Premier niveau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0"/>
            <a:endParaRPr lang="fr-FR"/>
          </a:p>
          <a:p>
            <a:pPr lvl="0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4D984FA-4E61-4CE3-B98F-02227AB979FA}"/>
              </a:ext>
            </a:extLst>
          </p:cNvPr>
          <p:cNvSpPr/>
          <p:nvPr userDrawn="1"/>
        </p:nvSpPr>
        <p:spPr>
          <a:xfrm>
            <a:off x="0" y="6246000"/>
            <a:ext cx="12192000" cy="612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0B405EDC-1E32-4B90-9CE5-392C8CD06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0061" y="6246000"/>
            <a:ext cx="771939" cy="612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317D9236-8631-4EC5-863A-395526DEF96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21" name="Image 27">
            <a:extLst>
              <a:ext uri="{FF2B5EF4-FFF2-40B4-BE49-F238E27FC236}">
                <a16:creationId xmlns:a16="http://schemas.microsoft.com/office/drawing/2014/main" id="{8FD07312-F352-41FF-A2AB-D9F36659D2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7200" y="6312339"/>
            <a:ext cx="1497600" cy="479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3113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AXIS ALTERNATIVE  Titre et contenu_2 colonnes avec illustration ou tableau a 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838200" y="949865"/>
            <a:ext cx="5040000" cy="4969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2400" i="1" kern="1200" dirty="0" smtClean="0">
                <a:solidFill>
                  <a:srgbClr val="F0820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1143000" indent="-228600">
              <a:buClr>
                <a:srgbClr val="ED6624"/>
              </a:buClr>
              <a:buFont typeface="Wingdings" panose="05000000000000000000" pitchFamily="2" charset="2"/>
              <a:buChar char="§"/>
              <a:defRPr/>
            </a:lvl3pPr>
            <a:lvl4pPr>
              <a:buClr>
                <a:schemeClr val="bg1">
                  <a:lumMod val="50000"/>
                </a:schemeClr>
              </a:buClr>
              <a:defRPr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Catch phras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838200" y="89451"/>
            <a:ext cx="10581860" cy="720000"/>
          </a:xfrm>
        </p:spPr>
        <p:txBody>
          <a:bodyPr anchor="b">
            <a:normAutofit/>
          </a:bodyPr>
          <a:lstStyle>
            <a:lvl1pPr>
              <a:defRPr sz="3200" b="0" cap="all" baseline="0">
                <a:latin typeface="+mn-lt"/>
              </a:defRPr>
            </a:lvl1pPr>
          </a:lstStyle>
          <a:p>
            <a:r>
              <a:rPr lang="fr-FR"/>
              <a:t>TITRE / MESSAGE (MAJ, ACCENTS, UNE SEULE LIGNE)</a:t>
            </a:r>
          </a:p>
        </p:txBody>
      </p:sp>
      <p:cxnSp>
        <p:nvCxnSpPr>
          <p:cNvPr id="9" name="Connecteur droit 8"/>
          <p:cNvCxnSpPr>
            <a:cxnSpLocks/>
          </p:cNvCxnSpPr>
          <p:nvPr userDrawn="1"/>
        </p:nvCxnSpPr>
        <p:spPr>
          <a:xfrm flipH="1">
            <a:off x="818147" y="860244"/>
            <a:ext cx="11373853" cy="0"/>
          </a:xfrm>
          <a:prstGeom prst="line">
            <a:avLst/>
          </a:prstGeom>
          <a:ln w="6350">
            <a:solidFill>
              <a:srgbClr val="F08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contenu 2"/>
          <p:cNvSpPr>
            <a:spLocks noGrp="1"/>
          </p:cNvSpPr>
          <p:nvPr>
            <p:ph idx="13" hasCustomPrompt="1"/>
          </p:nvPr>
        </p:nvSpPr>
        <p:spPr>
          <a:xfrm>
            <a:off x="838199" y="1595361"/>
            <a:ext cx="5040000" cy="4402392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fr-FR" sz="1600" dirty="0"/>
            </a:lvl1pPr>
            <a:lvl2pPr marL="685800" indent="-228600">
              <a:buClr>
                <a:srgbClr val="F08200"/>
              </a:buClr>
              <a:buFont typeface="Wingdings" panose="05000000000000000000" pitchFamily="2" charset="2"/>
              <a:buChar char="§"/>
              <a:defRPr lang="fr-FR" sz="1600" dirty="0" smtClean="0"/>
            </a:lvl2pPr>
            <a:lvl3pPr>
              <a:defRPr lang="fr-FR" sz="1600" dirty="0" smtClean="0"/>
            </a:lvl3pPr>
            <a:lvl4pPr marL="1600200" indent="-228600">
              <a:buClr>
                <a:srgbClr val="F08200"/>
              </a:buClr>
              <a:buFont typeface="Courier New" panose="02070309020205020404" pitchFamily="49" charset="0"/>
              <a:buChar char="o"/>
              <a:defRPr lang="fr-FR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marL="0" lv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fr-FR"/>
              <a:t>Premier niveau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marL="0" lvl="0" indent="0">
              <a:lnSpc>
                <a:spcPct val="100000"/>
              </a:lnSpc>
              <a:spcBef>
                <a:spcPts val="500"/>
              </a:spcBef>
              <a:buNone/>
            </a:pPr>
            <a:endParaRPr lang="fr-FR"/>
          </a:p>
        </p:txBody>
      </p:sp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id="{2FDD3211-3BD2-4F4F-ADF4-EC6EB3294293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380060" y="949865"/>
            <a:ext cx="5040000" cy="49691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2400" i="1" kern="1200" dirty="0" smtClean="0">
                <a:solidFill>
                  <a:srgbClr val="F0820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lnSpc>
                <a:spcPct val="100000"/>
              </a:lnSpc>
              <a:buNone/>
              <a:defRPr/>
            </a:lvl2pPr>
            <a:lvl3pPr marL="1143000" indent="-228600">
              <a:buClr>
                <a:srgbClr val="ED6624"/>
              </a:buClr>
              <a:buFont typeface="Wingdings" panose="05000000000000000000" pitchFamily="2" charset="2"/>
              <a:buChar char="§"/>
              <a:defRPr/>
            </a:lvl3pPr>
            <a:lvl4pPr>
              <a:buClr>
                <a:schemeClr val="bg1">
                  <a:lumMod val="50000"/>
                </a:schemeClr>
              </a:buClr>
              <a:defRPr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Catch phrase</a:t>
            </a:r>
          </a:p>
        </p:txBody>
      </p:sp>
      <p:sp>
        <p:nvSpPr>
          <p:cNvPr id="11" name="Espace réservé du contenu 2">
            <a:extLst>
              <a:ext uri="{FF2B5EF4-FFF2-40B4-BE49-F238E27FC236}">
                <a16:creationId xmlns:a16="http://schemas.microsoft.com/office/drawing/2014/main" id="{56C8D7CE-7B84-43AB-BCA1-660958309FF3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80059" y="1595361"/>
            <a:ext cx="5040000" cy="44023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None/>
              <a:defRPr lang="fr-FR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64328A"/>
              </a:buClr>
              <a:buFont typeface="Wingdings" panose="05000000000000000000" pitchFamily="2" charset="2"/>
              <a:buChar char="§"/>
              <a:defRPr sz="1600"/>
            </a:lvl2pPr>
            <a:lvl3pPr marL="11430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600"/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Clr>
                <a:srgbClr val="64328A"/>
              </a:buClr>
              <a:buFont typeface="Courier New" panose="02070309020205020404" pitchFamily="49" charset="0"/>
              <a:buChar char="o"/>
              <a:defRPr sz="1600"/>
            </a:lvl4pPr>
            <a:lvl5pPr marL="2057400" indent="-228600">
              <a:buClr>
                <a:srgbClr val="ED6624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fr-FR"/>
              <a:t>Illustration, schéma, tableau…</a:t>
            </a:r>
          </a:p>
          <a:p>
            <a:pPr lvl="0"/>
            <a:endParaRPr lang="fr-FR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4D984FA-4E61-4CE3-B98F-02227AB979FA}"/>
              </a:ext>
            </a:extLst>
          </p:cNvPr>
          <p:cNvSpPr/>
          <p:nvPr userDrawn="1"/>
        </p:nvSpPr>
        <p:spPr>
          <a:xfrm>
            <a:off x="0" y="6246000"/>
            <a:ext cx="12192000" cy="612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0B405EDC-1E32-4B90-9CE5-392C8CD06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0061" y="6246000"/>
            <a:ext cx="771939" cy="612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317D9236-8631-4EC5-863A-395526DEF969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21" name="Image 27">
            <a:extLst>
              <a:ext uri="{FF2B5EF4-FFF2-40B4-BE49-F238E27FC236}">
                <a16:creationId xmlns:a16="http://schemas.microsoft.com/office/drawing/2014/main" id="{8FD07312-F352-41FF-A2AB-D9F36659D2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7200" y="6312339"/>
            <a:ext cx="1497600" cy="479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3579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22.xml"/><Relationship Id="rId10" Type="http://schemas.openxmlformats.org/officeDocument/2006/relationships/image" Target="../media/image7.jpeg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C2DA85-3FFC-4F05-AFE9-B8DF20E66DFA}" type="datetime1">
              <a:rPr lang="fr-FR" smtClean="0"/>
              <a:t>26/03/202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6708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7D9236-8631-4EC5-863A-395526DEF96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60621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0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30" r:id="rId12"/>
    <p:sldLayoutId id="2147483731" r:id="rId13"/>
    <p:sldLayoutId id="2147483732" r:id="rId14"/>
    <p:sldLayoutId id="2147483733" r:id="rId15"/>
    <p:sldLayoutId id="2147483761" r:id="rId16"/>
    <p:sldLayoutId id="2147483762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" descr="logo axis (2)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5" r="-11768"/>
          <a:stretch>
            <a:fillRect/>
          </a:stretch>
        </p:blipFill>
        <p:spPr bwMode="auto">
          <a:xfrm>
            <a:off x="372358" y="6303285"/>
            <a:ext cx="2401375" cy="5518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1" imgW="360" imgH="360" progId="">
                  <p:embed/>
                </p:oleObj>
              </mc:Choice>
              <mc:Fallback>
                <p:oleObj name="Diapositive think-cell" r:id="rId11" imgW="360" imgH="360" progId="">
                  <p:embed/>
                  <p:pic>
                    <p:nvPicPr>
                      <p:cNvPr id="7" name="Obje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431801" y="217141"/>
            <a:ext cx="11328399" cy="86337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fr-FR" noProof="0"/>
              <a:t>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431801" y="1309607"/>
            <a:ext cx="11328399" cy="48587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201376" marR="0" lvl="0" indent="-201376" algn="l" defTabSz="913306" rtl="0" eaLnBrk="1" fontAlgn="auto" latinLnBrk="0" hangingPunct="1">
              <a:lnSpc>
                <a:spcPct val="112000"/>
              </a:lnSpc>
              <a:spcBef>
                <a:spcPts val="800"/>
              </a:spcBef>
              <a:spcAft>
                <a:spcPts val="600"/>
              </a:spcAft>
              <a:buClr>
                <a:srgbClr val="E10019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 level 1</a:t>
            </a:r>
          </a:p>
          <a:p>
            <a:pPr marL="409924" marR="0" lvl="1" indent="-201160" algn="l" defTabSz="913306" rtl="0" eaLnBrk="1" fontAlgn="auto" latinLnBrk="0" hangingPunct="1">
              <a:lnSpc>
                <a:spcPct val="112000"/>
              </a:lnSpc>
              <a:spcBef>
                <a:spcPts val="411"/>
              </a:spcBef>
              <a:spcAft>
                <a:spcPts val="600"/>
              </a:spcAft>
              <a:buClr>
                <a:schemeClr val="accent4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 level 2</a:t>
            </a:r>
          </a:p>
          <a:p>
            <a:pPr marL="752475" marR="0" lvl="3" indent="-200025" algn="l" defTabSz="913306" rtl="0" eaLnBrk="1" fontAlgn="auto" latinLnBrk="0" hangingPunct="1">
              <a:lnSpc>
                <a:spcPct val="112000"/>
              </a:lnSpc>
              <a:spcBef>
                <a:spcPts val="411"/>
              </a:spcBef>
              <a:spcAft>
                <a:spcPts val="600"/>
              </a:spcAft>
              <a:buClr>
                <a:schemeClr val="accent4">
                  <a:lumMod val="40000"/>
                  <a:lumOff val="60000"/>
                </a:schemeClr>
              </a:buClr>
              <a:buSzPct val="75000"/>
              <a:buFont typeface="Wingdings" pitchFamily="2" charset="2"/>
              <a:buChar char="n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 level 3</a:t>
            </a:r>
          </a:p>
          <a:p>
            <a:pPr marL="1146175" marR="0" lvl="3" indent="-200025" algn="l" defTabSz="913306" rtl="0" eaLnBrk="1" fontAlgn="auto" latinLnBrk="0" hangingPunct="1">
              <a:lnSpc>
                <a:spcPct val="112000"/>
              </a:lnSpc>
              <a:spcBef>
                <a:spcPts val="411"/>
              </a:spcBef>
              <a:spcAft>
                <a:spcPts val="600"/>
              </a:spcAft>
              <a:buClr>
                <a:schemeClr val="accent4">
                  <a:lumMod val="40000"/>
                  <a:lumOff val="60000"/>
                </a:schemeClr>
              </a:buClr>
              <a:buSzPct val="75000"/>
              <a:buFontTx/>
              <a:buChar char="-"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 level 4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1401961" y="6524625"/>
            <a:ext cx="768348" cy="333375"/>
          </a:xfrm>
          <a:prstGeom prst="rect">
            <a:avLst/>
          </a:prstGeom>
        </p:spPr>
        <p:txBody>
          <a:bodyPr vert="horz" lIns="0" tIns="72000" rIns="0" bIns="0" rtlCol="0" anchor="ctr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2" name="Rectangle à coins arrondis 11"/>
          <p:cNvSpPr/>
          <p:nvPr/>
        </p:nvSpPr>
        <p:spPr>
          <a:xfrm>
            <a:off x="436033" y="192322"/>
            <a:ext cx="432000" cy="36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Rectangle à coins arrondis 12"/>
          <p:cNvSpPr/>
          <p:nvPr/>
        </p:nvSpPr>
        <p:spPr>
          <a:xfrm>
            <a:off x="436033" y="1061477"/>
            <a:ext cx="432000" cy="36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8" name="Rounded Rectangle 17"/>
          <p:cNvSpPr/>
          <p:nvPr userDrawn="1"/>
        </p:nvSpPr>
        <p:spPr>
          <a:xfrm>
            <a:off x="409570" y="6269249"/>
            <a:ext cx="11328399" cy="2743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/>
              </a:gs>
              <a:gs pos="92000">
                <a:schemeClr val="accent4">
                  <a:alpha val="23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937512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3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201376" marR="0" indent="-201376" algn="l" defTabSz="913306" rtl="0" eaLnBrk="1" fontAlgn="auto" latinLnBrk="0" hangingPunct="1">
        <a:lnSpc>
          <a:spcPct val="112000"/>
        </a:lnSpc>
        <a:spcBef>
          <a:spcPts val="800"/>
        </a:spcBef>
        <a:spcAft>
          <a:spcPts val="600"/>
        </a:spcAft>
        <a:buClr>
          <a:srgbClr val="E10019"/>
        </a:buClr>
        <a:buSzTx/>
        <a:buFont typeface="Wingdings" pitchFamily="2" charset="2"/>
        <a:buChar char="n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409924" marR="0" indent="-201160" algn="l" defTabSz="913306" rtl="0" eaLnBrk="1" fontAlgn="auto" latinLnBrk="0" hangingPunct="1">
        <a:lnSpc>
          <a:spcPct val="112000"/>
        </a:lnSpc>
        <a:spcBef>
          <a:spcPts val="411"/>
        </a:spcBef>
        <a:spcAft>
          <a:spcPts val="600"/>
        </a:spcAft>
        <a:buClr>
          <a:schemeClr val="accent4"/>
        </a:buClr>
        <a:buSzTx/>
        <a:buFont typeface="Wingdings" pitchFamily="2" charset="2"/>
        <a:buChar char="n"/>
        <a:tabLst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576000" indent="-144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6175" marR="0" indent="-200025" algn="l" defTabSz="913306" rtl="0" eaLnBrk="1" fontAlgn="auto" latinLnBrk="0" hangingPunct="1">
        <a:lnSpc>
          <a:spcPct val="112000"/>
        </a:lnSpc>
        <a:spcBef>
          <a:spcPts val="411"/>
        </a:spcBef>
        <a:spcAft>
          <a:spcPts val="600"/>
        </a:spcAft>
        <a:buClr>
          <a:schemeClr val="accent4">
            <a:lumMod val="40000"/>
            <a:lumOff val="60000"/>
          </a:schemeClr>
        </a:buClr>
        <a:buSzPct val="75000"/>
        <a:buFontTx/>
        <a:buChar char="-"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72000" indent="-144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Pct val="100000"/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5" Type="http://schemas.openxmlformats.org/officeDocument/2006/relationships/hyperlink" Target="https://tokeny.com/erc3643-v4/" TargetMode="External"/><Relationship Id="rId4" Type="http://schemas.openxmlformats.org/officeDocument/2006/relationships/image" Target="../media/image14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tokeny.com/erc3643-v4/" TargetMode="Externa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5" Type="http://schemas.openxmlformats.org/officeDocument/2006/relationships/hyperlink" Target="https://tokeny.com/erc3643-v4/" TargetMode="External"/><Relationship Id="rId4" Type="http://schemas.openxmlformats.org/officeDocument/2006/relationships/image" Target="../media/image14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7.jpe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tokeny.com/erc3643-v4/" TargetMode="Externa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5" Type="http://schemas.openxmlformats.org/officeDocument/2006/relationships/hyperlink" Target="https://tokeny.com/erc3643-v4/" TargetMode="External"/><Relationship Id="rId4" Type="http://schemas.openxmlformats.org/officeDocument/2006/relationships/image" Target="../media/image14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5" Type="http://schemas.openxmlformats.org/officeDocument/2006/relationships/hyperlink" Target="https://tokeny.com/erc3643-v4/" TargetMode="External"/><Relationship Id="rId4" Type="http://schemas.openxmlformats.org/officeDocument/2006/relationships/image" Target="../media/image14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5" Type="http://schemas.openxmlformats.org/officeDocument/2006/relationships/hyperlink" Target="https://tokeny.com/erc3643-v4/" TargetMode="External"/><Relationship Id="rId4" Type="http://schemas.openxmlformats.org/officeDocument/2006/relationships/image" Target="../media/image1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4622B884-C057-0FB2-E3A7-BAF2EE1B454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96000" y="2854049"/>
            <a:ext cx="7404877" cy="1512903"/>
          </a:xfrm>
        </p:spPr>
        <p:txBody>
          <a:bodyPr>
            <a:normAutofit/>
          </a:bodyPr>
          <a:lstStyle/>
          <a:p>
            <a:pPr algn="l"/>
            <a:r>
              <a:rPr lang="fr-FR" sz="2800" dirty="0" err="1"/>
              <a:t>Pricer</a:t>
            </a:r>
            <a:r>
              <a:rPr lang="fr-FR" sz="2800" dirty="0"/>
              <a:t> OPTIONS - CD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8AF4A7D-BC13-8D93-CDCF-5D5E33E92D3C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fr-FR" dirty="0"/>
              <a:t>Mars 2024</a:t>
            </a:r>
          </a:p>
        </p:txBody>
      </p:sp>
    </p:spTree>
    <p:extLst>
      <p:ext uri="{BB962C8B-B14F-4D97-AF65-F5344CB8AC3E}">
        <p14:creationId xmlns:p14="http://schemas.microsoft.com/office/powerpoint/2010/main" val="10995111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oneTexte 11">
            <a:extLst>
              <a:ext uri="{FF2B5EF4-FFF2-40B4-BE49-F238E27FC236}">
                <a16:creationId xmlns:a16="http://schemas.microsoft.com/office/drawing/2014/main" id="{B340E6D9-44AA-6AB5-0F07-60256CE35EDE}"/>
              </a:ext>
            </a:extLst>
          </p:cNvPr>
          <p:cNvSpPr txBox="1"/>
          <p:nvPr/>
        </p:nvSpPr>
        <p:spPr>
          <a:xfrm>
            <a:off x="1598213" y="0"/>
            <a:ext cx="301329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 LEVEL REVIEW OF PROJECT FINANCING </a:t>
            </a:r>
          </a:p>
        </p:txBody>
      </p:sp>
      <p:sp>
        <p:nvSpPr>
          <p:cNvPr id="9" name="Titre 2">
            <a:extLst>
              <a:ext uri="{FF2B5EF4-FFF2-40B4-BE49-F238E27FC236}">
                <a16:creationId xmlns:a16="http://schemas.microsoft.com/office/drawing/2014/main" id="{5136A549-C8A8-E827-61FD-714AD3EF6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9451"/>
            <a:ext cx="10581860" cy="720000"/>
          </a:xfrm>
        </p:spPr>
        <p:txBody>
          <a:bodyPr>
            <a:normAutofit/>
          </a:bodyPr>
          <a:lstStyle/>
          <a:p>
            <a:r>
              <a:rPr lang="en-GB" sz="2400" b="1" cap="small" dirty="0">
                <a:solidFill>
                  <a:schemeClr val="tx1">
                    <a:lumMod val="95000"/>
                    <a:lumOff val="5000"/>
                  </a:schemeClr>
                </a:solidFill>
              </a:rPr>
              <a:t>Pricing des </a:t>
            </a:r>
            <a:r>
              <a:rPr lang="en-GB" sz="2400" b="1" cap="small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cds</a:t>
            </a:r>
            <a:endParaRPr lang="en-GB" sz="2200" b="1" cap="small" dirty="0" err="1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37" name="Graphique 36" descr="Badge 1 avec un remplissage uni">
            <a:extLst>
              <a:ext uri="{FF2B5EF4-FFF2-40B4-BE49-F238E27FC236}">
                <a16:creationId xmlns:a16="http://schemas.microsoft.com/office/drawing/2014/main" id="{5B111208-0B8C-52D0-9CB9-26F2C5E7875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386001" y="-1352476"/>
            <a:ext cx="163049" cy="163049"/>
          </a:xfrm>
          <a:prstGeom prst="rect">
            <a:avLst/>
          </a:prstGeom>
        </p:spPr>
      </p:pic>
      <p:pic>
        <p:nvPicPr>
          <p:cNvPr id="1027" name="Picture 3">
            <a:hlinkClick r:id="rId5"/>
            <a:extLst>
              <a:ext uri="{FF2B5EF4-FFF2-40B4-BE49-F238E27FC236}">
                <a16:creationId xmlns:a16="http://schemas.microsoft.com/office/drawing/2014/main" id="{862B73E8-08F8-C1E0-53CE-12A5254433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5663" y="-14636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 1" descr="Une image contenant texte, capture d’écran, diagramme, Parallèle&#10;&#10;Description générée automatiquement">
            <a:extLst>
              <a:ext uri="{FF2B5EF4-FFF2-40B4-BE49-F238E27FC236}">
                <a16:creationId xmlns:a16="http://schemas.microsoft.com/office/drawing/2014/main" id="{73AA16E4-0818-C431-0750-FAF141CB63A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8566" y="899583"/>
            <a:ext cx="10850034" cy="519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5024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1696DB86-5736-CC12-31C8-FC799D5AA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400" b="1" cap="small">
                <a:solidFill>
                  <a:schemeClr val="tx1">
                    <a:lumMod val="95000"/>
                    <a:lumOff val="5000"/>
                  </a:schemeClr>
                </a:solidFill>
              </a:rPr>
              <a:t>Next Step</a:t>
            </a:r>
            <a:endParaRPr lang="fr-FR" sz="240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71969D44-0492-7388-43CD-94F5A527230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8296" y="1081011"/>
            <a:ext cx="8611472" cy="4402392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fr-FR" dirty="0"/>
          </a:p>
          <a:p>
            <a:pPr marL="342900" indent="-342900">
              <a:buFont typeface="+mj-lt"/>
              <a:buAutoNum type="arabicPeriod"/>
            </a:pPr>
            <a:endParaRPr lang="fr-FR" dirty="0"/>
          </a:p>
          <a:p>
            <a:pPr marL="342900" indent="-342900">
              <a:buFont typeface="+mj-lt"/>
              <a:buAutoNum type="arabicPeriod"/>
            </a:pPr>
            <a:endParaRPr lang="fr-FR" sz="2400" dirty="0"/>
          </a:p>
          <a:p>
            <a:pPr marL="342900" indent="-342900">
              <a:buFont typeface="+mj-lt"/>
              <a:buAutoNum type="arabicPeriod"/>
            </a:pPr>
            <a:r>
              <a:rPr lang="fr-FR" sz="2400" dirty="0"/>
              <a:t>Enrichir la documentation et les </a:t>
            </a:r>
            <a:r>
              <a:rPr lang="fr-FR" sz="2400" dirty="0" err="1"/>
              <a:t>Readme</a:t>
            </a:r>
            <a:r>
              <a:rPr lang="fr-FR" sz="2400" dirty="0"/>
              <a:t> depuis git </a:t>
            </a:r>
          </a:p>
          <a:p>
            <a:pPr marL="342900" indent="-342900">
              <a:buFont typeface="+mj-lt"/>
              <a:buAutoNum type="arabicPeriod"/>
            </a:pPr>
            <a:r>
              <a:rPr lang="fr-FR" sz="2400"/>
              <a:t>Interfaçage CDO (In </a:t>
            </a:r>
            <a:r>
              <a:rPr lang="fr-FR" sz="2400" dirty="0" err="1"/>
              <a:t>progress</a:t>
            </a:r>
            <a:r>
              <a:rPr lang="fr-FR" sz="2400" dirty="0"/>
              <a:t>)</a:t>
            </a:r>
          </a:p>
          <a:p>
            <a:pPr marL="342900" indent="-342900">
              <a:buFont typeface="+mj-lt"/>
              <a:buAutoNum type="arabicPeriod"/>
            </a:pPr>
            <a:r>
              <a:rPr lang="fr-FR" sz="2400" dirty="0"/>
              <a:t>Tests avec des sources de données diverses(In </a:t>
            </a:r>
            <a:r>
              <a:rPr lang="fr-FR" sz="2400" dirty="0" err="1"/>
              <a:t>progress</a:t>
            </a:r>
            <a:r>
              <a:rPr lang="fr-FR" sz="2400" dirty="0"/>
              <a:t>)</a:t>
            </a:r>
          </a:p>
          <a:p>
            <a:pPr marL="342900" indent="-342900">
              <a:buFont typeface="+mj-lt"/>
              <a:buAutoNum type="arabicPeriod"/>
            </a:pPr>
            <a:r>
              <a:rPr lang="fr-FR" sz="2400" dirty="0"/>
              <a:t>Améliorer la partie web du </a:t>
            </a:r>
            <a:r>
              <a:rPr lang="fr-FR" sz="2400" err="1"/>
              <a:t>pricer</a:t>
            </a:r>
            <a:r>
              <a:rPr lang="fr-FR" sz="2400"/>
              <a:t> (in </a:t>
            </a:r>
            <a:r>
              <a:rPr lang="fr-FR" sz="2400" err="1"/>
              <a:t>progress</a:t>
            </a:r>
            <a:r>
              <a:rPr lang="fr-FR" sz="2400"/>
              <a:t>)</a:t>
            </a:r>
            <a:endParaRPr lang="fr-FR" sz="2400">
              <a:cs typeface="Calibri"/>
            </a:endParaRPr>
          </a:p>
          <a:p>
            <a:pPr marL="342900" indent="-342900">
              <a:buFont typeface="+mj-lt"/>
              <a:buAutoNum type="arabicPeriod"/>
            </a:pPr>
            <a:r>
              <a:rPr lang="fr-FR" sz="2400" dirty="0"/>
              <a:t>Faire évoluer le </a:t>
            </a:r>
            <a:r>
              <a:rPr lang="fr-FR" sz="2400" err="1"/>
              <a:t>pricer</a:t>
            </a:r>
            <a:r>
              <a:rPr lang="fr-FR" sz="2400"/>
              <a:t> vers d’autre classe d'actif</a:t>
            </a:r>
            <a:endParaRPr lang="fr-FR" sz="2400">
              <a:cs typeface="Calibri"/>
            </a:endParaRPr>
          </a:p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459A784-947B-BBC0-00D3-127BAF4C60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7D9236-8631-4EC5-863A-395526DEF969}" type="slidenum">
              <a:rPr lang="fr-FR" smtClean="0"/>
              <a:pPr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768899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418A4B42-A17C-EDF1-1D0E-7F646E9486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4448" y="2281172"/>
            <a:ext cx="7404877" cy="1512903"/>
          </a:xfrm>
        </p:spPr>
        <p:txBody>
          <a:bodyPr>
            <a:normAutofit/>
          </a:bodyPr>
          <a:lstStyle/>
          <a:p>
            <a:pPr algn="l"/>
            <a:r>
              <a:rPr lang="fr-FR" sz="4000"/>
              <a:t>Merci !</a:t>
            </a:r>
          </a:p>
        </p:txBody>
      </p:sp>
    </p:spTree>
    <p:extLst>
      <p:ext uri="{BB962C8B-B14F-4D97-AF65-F5344CB8AC3E}">
        <p14:creationId xmlns:p14="http://schemas.microsoft.com/office/powerpoint/2010/main" val="22204676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4000" b="1" cap="small">
                <a:solidFill>
                  <a:schemeClr val="tx1">
                    <a:lumMod val="95000"/>
                    <a:lumOff val="5000"/>
                  </a:schemeClr>
                </a:solidFill>
              </a:rPr>
              <a:t>Sommaire</a:t>
            </a:r>
            <a:endParaRPr lang="fr-FR" sz="400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17D9236-8631-4EC5-863A-395526DEF96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81" name="Shape 279">
            <a:extLst>
              <a:ext uri="{FF2B5EF4-FFF2-40B4-BE49-F238E27FC236}">
                <a16:creationId xmlns:a16="http://schemas.microsoft.com/office/drawing/2014/main" id="{A75F5C48-01E4-5DED-248E-EF9F0CBF599C}"/>
              </a:ext>
            </a:extLst>
          </p:cNvPr>
          <p:cNvSpPr/>
          <p:nvPr/>
        </p:nvSpPr>
        <p:spPr>
          <a:xfrm>
            <a:off x="3847883" y="2743201"/>
            <a:ext cx="537823" cy="537823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34289" tIns="34289" rIns="34289" bIns="34289" numCol="1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>
                <a:solidFill>
                  <a:srgbClr val="FFFFFF"/>
                </a:solidFill>
              </a:defRPr>
            </a:pPr>
            <a:r>
              <a:rPr lang="en-US" sz="2400" b="1">
                <a:latin typeface="+mj-lt"/>
              </a:rPr>
              <a:t>02</a:t>
            </a:r>
            <a:endParaRPr sz="2400" b="1">
              <a:latin typeface="+mj-lt"/>
            </a:endParaRPr>
          </a:p>
        </p:txBody>
      </p:sp>
      <p:sp>
        <p:nvSpPr>
          <p:cNvPr id="82" name="Shape 282">
            <a:extLst>
              <a:ext uri="{FF2B5EF4-FFF2-40B4-BE49-F238E27FC236}">
                <a16:creationId xmlns:a16="http://schemas.microsoft.com/office/drawing/2014/main" id="{0F26822B-8455-F991-03E7-E33D9F32E44D}"/>
              </a:ext>
            </a:extLst>
          </p:cNvPr>
          <p:cNvSpPr/>
          <p:nvPr/>
        </p:nvSpPr>
        <p:spPr>
          <a:xfrm>
            <a:off x="3847883" y="3727003"/>
            <a:ext cx="537823" cy="537823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34289" tIns="34289" rIns="34289" bIns="34289" numCol="1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>
                <a:solidFill>
                  <a:srgbClr val="FFFFFF"/>
                </a:solidFill>
              </a:defRPr>
            </a:pPr>
            <a:r>
              <a:rPr lang="en-US" sz="2400" b="1">
                <a:latin typeface="+mj-lt"/>
              </a:rPr>
              <a:t>03</a:t>
            </a:r>
            <a:endParaRPr sz="2400" b="1">
              <a:latin typeface="+mj-lt"/>
            </a:endParaRPr>
          </a:p>
        </p:txBody>
      </p:sp>
      <p:grpSp>
        <p:nvGrpSpPr>
          <p:cNvPr id="83" name="Group 24">
            <a:extLst>
              <a:ext uri="{FF2B5EF4-FFF2-40B4-BE49-F238E27FC236}">
                <a16:creationId xmlns:a16="http://schemas.microsoft.com/office/drawing/2014/main" id="{22FE5B17-B9A8-B324-BEEE-696868510F8D}"/>
              </a:ext>
            </a:extLst>
          </p:cNvPr>
          <p:cNvGrpSpPr/>
          <p:nvPr/>
        </p:nvGrpSpPr>
        <p:grpSpPr>
          <a:xfrm>
            <a:off x="1366949" y="1915718"/>
            <a:ext cx="1879999" cy="3026563"/>
            <a:chOff x="2924175" y="1682750"/>
            <a:chExt cx="2506663" cy="4035425"/>
          </a:xfrm>
        </p:grpSpPr>
        <p:sp>
          <p:nvSpPr>
            <p:cNvPr id="104" name="Freeform 90">
              <a:extLst>
                <a:ext uri="{FF2B5EF4-FFF2-40B4-BE49-F238E27FC236}">
                  <a16:creationId xmlns:a16="http://schemas.microsoft.com/office/drawing/2014/main" id="{B5EE9C45-17BD-D6A7-5664-66A6D199F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0625" y="5511800"/>
              <a:ext cx="276225" cy="206375"/>
            </a:xfrm>
            <a:custGeom>
              <a:avLst/>
              <a:gdLst>
                <a:gd name="T0" fmla="*/ 0 w 699"/>
                <a:gd name="T1" fmla="*/ 2 h 520"/>
                <a:gd name="T2" fmla="*/ 0 w 699"/>
                <a:gd name="T3" fmla="*/ 520 h 520"/>
                <a:gd name="T4" fmla="*/ 691 w 699"/>
                <a:gd name="T5" fmla="*/ 520 h 520"/>
                <a:gd name="T6" fmla="*/ 694 w 699"/>
                <a:gd name="T7" fmla="*/ 516 h 520"/>
                <a:gd name="T8" fmla="*/ 699 w 699"/>
                <a:gd name="T9" fmla="*/ 492 h 520"/>
                <a:gd name="T10" fmla="*/ 696 w 699"/>
                <a:gd name="T11" fmla="*/ 466 h 520"/>
                <a:gd name="T12" fmla="*/ 684 w 699"/>
                <a:gd name="T13" fmla="*/ 433 h 520"/>
                <a:gd name="T14" fmla="*/ 657 w 699"/>
                <a:gd name="T15" fmla="*/ 394 h 520"/>
                <a:gd name="T16" fmla="*/ 612 w 699"/>
                <a:gd name="T17" fmla="*/ 353 h 520"/>
                <a:gd name="T18" fmla="*/ 543 w 699"/>
                <a:gd name="T19" fmla="*/ 306 h 520"/>
                <a:gd name="T20" fmla="*/ 497 w 699"/>
                <a:gd name="T21" fmla="*/ 282 h 520"/>
                <a:gd name="T22" fmla="*/ 237 w 699"/>
                <a:gd name="T23" fmla="*/ 152 h 520"/>
                <a:gd name="T24" fmla="*/ 230 w 699"/>
                <a:gd name="T25" fmla="*/ 0 h 520"/>
                <a:gd name="T26" fmla="*/ 0 w 699"/>
                <a:gd name="T27" fmla="*/ 2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99" h="520">
                  <a:moveTo>
                    <a:pt x="0" y="2"/>
                  </a:moveTo>
                  <a:lnTo>
                    <a:pt x="0" y="520"/>
                  </a:lnTo>
                  <a:lnTo>
                    <a:pt x="691" y="520"/>
                  </a:lnTo>
                  <a:lnTo>
                    <a:pt x="694" y="516"/>
                  </a:lnTo>
                  <a:lnTo>
                    <a:pt x="699" y="492"/>
                  </a:lnTo>
                  <a:lnTo>
                    <a:pt x="696" y="466"/>
                  </a:lnTo>
                  <a:lnTo>
                    <a:pt x="684" y="433"/>
                  </a:lnTo>
                  <a:lnTo>
                    <a:pt x="657" y="394"/>
                  </a:lnTo>
                  <a:lnTo>
                    <a:pt x="612" y="353"/>
                  </a:lnTo>
                  <a:lnTo>
                    <a:pt x="543" y="306"/>
                  </a:lnTo>
                  <a:lnTo>
                    <a:pt x="497" y="282"/>
                  </a:lnTo>
                  <a:lnTo>
                    <a:pt x="237" y="152"/>
                  </a:lnTo>
                  <a:lnTo>
                    <a:pt x="230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05" name="Freeform 91">
              <a:extLst>
                <a:ext uri="{FF2B5EF4-FFF2-40B4-BE49-F238E27FC236}">
                  <a16:creationId xmlns:a16="http://schemas.microsoft.com/office/drawing/2014/main" id="{E94C0FD2-4ADA-56EB-6A3A-D21B969D5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9938" y="5511800"/>
              <a:ext cx="277813" cy="206375"/>
            </a:xfrm>
            <a:custGeom>
              <a:avLst/>
              <a:gdLst>
                <a:gd name="T0" fmla="*/ 699 w 699"/>
                <a:gd name="T1" fmla="*/ 2 h 520"/>
                <a:gd name="T2" fmla="*/ 699 w 699"/>
                <a:gd name="T3" fmla="*/ 520 h 520"/>
                <a:gd name="T4" fmla="*/ 8 w 699"/>
                <a:gd name="T5" fmla="*/ 520 h 520"/>
                <a:gd name="T6" fmla="*/ 5 w 699"/>
                <a:gd name="T7" fmla="*/ 516 h 520"/>
                <a:gd name="T8" fmla="*/ 0 w 699"/>
                <a:gd name="T9" fmla="*/ 492 h 520"/>
                <a:gd name="T10" fmla="*/ 3 w 699"/>
                <a:gd name="T11" fmla="*/ 466 h 520"/>
                <a:gd name="T12" fmla="*/ 14 w 699"/>
                <a:gd name="T13" fmla="*/ 433 h 520"/>
                <a:gd name="T14" fmla="*/ 42 w 699"/>
                <a:gd name="T15" fmla="*/ 394 h 520"/>
                <a:gd name="T16" fmla="*/ 87 w 699"/>
                <a:gd name="T17" fmla="*/ 353 h 520"/>
                <a:gd name="T18" fmla="*/ 156 w 699"/>
                <a:gd name="T19" fmla="*/ 306 h 520"/>
                <a:gd name="T20" fmla="*/ 202 w 699"/>
                <a:gd name="T21" fmla="*/ 282 h 520"/>
                <a:gd name="T22" fmla="*/ 462 w 699"/>
                <a:gd name="T23" fmla="*/ 152 h 520"/>
                <a:gd name="T24" fmla="*/ 469 w 699"/>
                <a:gd name="T25" fmla="*/ 0 h 520"/>
                <a:gd name="T26" fmla="*/ 699 w 699"/>
                <a:gd name="T27" fmla="*/ 2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99" h="520">
                  <a:moveTo>
                    <a:pt x="699" y="2"/>
                  </a:moveTo>
                  <a:lnTo>
                    <a:pt x="699" y="520"/>
                  </a:lnTo>
                  <a:lnTo>
                    <a:pt x="8" y="520"/>
                  </a:lnTo>
                  <a:lnTo>
                    <a:pt x="5" y="516"/>
                  </a:lnTo>
                  <a:lnTo>
                    <a:pt x="0" y="492"/>
                  </a:lnTo>
                  <a:lnTo>
                    <a:pt x="3" y="466"/>
                  </a:lnTo>
                  <a:lnTo>
                    <a:pt x="14" y="433"/>
                  </a:lnTo>
                  <a:lnTo>
                    <a:pt x="42" y="394"/>
                  </a:lnTo>
                  <a:lnTo>
                    <a:pt x="87" y="353"/>
                  </a:lnTo>
                  <a:lnTo>
                    <a:pt x="156" y="306"/>
                  </a:lnTo>
                  <a:lnTo>
                    <a:pt x="202" y="282"/>
                  </a:lnTo>
                  <a:lnTo>
                    <a:pt x="462" y="152"/>
                  </a:lnTo>
                  <a:lnTo>
                    <a:pt x="469" y="0"/>
                  </a:lnTo>
                  <a:lnTo>
                    <a:pt x="699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06" name="Freeform 92">
              <a:extLst>
                <a:ext uri="{FF2B5EF4-FFF2-40B4-BE49-F238E27FC236}">
                  <a16:creationId xmlns:a16="http://schemas.microsoft.com/office/drawing/2014/main" id="{98FBE091-A078-694F-E0B6-43458926F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9313" y="3548063"/>
              <a:ext cx="542925" cy="2016125"/>
            </a:xfrm>
            <a:custGeom>
              <a:avLst/>
              <a:gdLst>
                <a:gd name="T0" fmla="*/ 0 w 1368"/>
                <a:gd name="T1" fmla="*/ 0 h 5080"/>
                <a:gd name="T2" fmla="*/ 148 w 1368"/>
                <a:gd name="T3" fmla="*/ 5080 h 5080"/>
                <a:gd name="T4" fmla="*/ 569 w 1368"/>
                <a:gd name="T5" fmla="*/ 5080 h 5080"/>
                <a:gd name="T6" fmla="*/ 697 w 1368"/>
                <a:gd name="T7" fmla="*/ 919 h 5080"/>
                <a:gd name="T8" fmla="*/ 763 w 1368"/>
                <a:gd name="T9" fmla="*/ 5080 h 5080"/>
                <a:gd name="T10" fmla="*/ 1184 w 1368"/>
                <a:gd name="T11" fmla="*/ 5080 h 5080"/>
                <a:gd name="T12" fmla="*/ 1368 w 1368"/>
                <a:gd name="T13" fmla="*/ 0 h 5080"/>
                <a:gd name="T14" fmla="*/ 0 w 1368"/>
                <a:gd name="T15" fmla="*/ 0 h 5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68" h="5080">
                  <a:moveTo>
                    <a:pt x="0" y="0"/>
                  </a:moveTo>
                  <a:lnTo>
                    <a:pt x="148" y="5080"/>
                  </a:lnTo>
                  <a:lnTo>
                    <a:pt x="569" y="5080"/>
                  </a:lnTo>
                  <a:lnTo>
                    <a:pt x="697" y="919"/>
                  </a:lnTo>
                  <a:lnTo>
                    <a:pt x="763" y="5080"/>
                  </a:lnTo>
                  <a:lnTo>
                    <a:pt x="1184" y="5080"/>
                  </a:lnTo>
                  <a:lnTo>
                    <a:pt x="136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932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07" name="Freeform 93">
              <a:extLst>
                <a:ext uri="{FF2B5EF4-FFF2-40B4-BE49-F238E27FC236}">
                  <a16:creationId xmlns:a16="http://schemas.microsoft.com/office/drawing/2014/main" id="{C89B7D5A-B3B6-449F-A656-BA92BC5367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3763" y="2887663"/>
              <a:ext cx="1588" cy="141288"/>
            </a:xfrm>
            <a:custGeom>
              <a:avLst/>
              <a:gdLst>
                <a:gd name="T0" fmla="*/ 0 w 4"/>
                <a:gd name="T1" fmla="*/ 358 h 358"/>
                <a:gd name="T2" fmla="*/ 0 w 4"/>
                <a:gd name="T3" fmla="*/ 4 h 358"/>
                <a:gd name="T4" fmla="*/ 4 w 4"/>
                <a:gd name="T5" fmla="*/ 0 h 358"/>
                <a:gd name="T6" fmla="*/ 4 w 4"/>
                <a:gd name="T7" fmla="*/ 354 h 358"/>
                <a:gd name="T8" fmla="*/ 3 w 4"/>
                <a:gd name="T9" fmla="*/ 357 h 358"/>
                <a:gd name="T10" fmla="*/ 0 w 4"/>
                <a:gd name="T11" fmla="*/ 358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358">
                  <a:moveTo>
                    <a:pt x="0" y="358"/>
                  </a:moveTo>
                  <a:lnTo>
                    <a:pt x="0" y="4"/>
                  </a:lnTo>
                  <a:lnTo>
                    <a:pt x="4" y="0"/>
                  </a:lnTo>
                  <a:lnTo>
                    <a:pt x="4" y="354"/>
                  </a:lnTo>
                  <a:lnTo>
                    <a:pt x="3" y="357"/>
                  </a:lnTo>
                  <a:lnTo>
                    <a:pt x="0" y="358"/>
                  </a:lnTo>
                  <a:close/>
                </a:path>
              </a:pathLst>
            </a:custGeom>
            <a:solidFill>
              <a:srgbClr val="5C6D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08" name="Freeform 95">
              <a:extLst>
                <a:ext uri="{FF2B5EF4-FFF2-40B4-BE49-F238E27FC236}">
                  <a16:creationId xmlns:a16="http://schemas.microsoft.com/office/drawing/2014/main" id="{2E6933EA-A044-C3B1-9B2D-B628922294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7725" y="3471863"/>
              <a:ext cx="547688" cy="76200"/>
            </a:xfrm>
            <a:custGeom>
              <a:avLst/>
              <a:gdLst>
                <a:gd name="T0" fmla="*/ 1380 w 1380"/>
                <a:gd name="T1" fmla="*/ 0 h 196"/>
                <a:gd name="T2" fmla="*/ 0 w 1380"/>
                <a:gd name="T3" fmla="*/ 0 h 196"/>
                <a:gd name="T4" fmla="*/ 5 w 1380"/>
                <a:gd name="T5" fmla="*/ 196 h 196"/>
                <a:gd name="T6" fmla="*/ 1373 w 1380"/>
                <a:gd name="T7" fmla="*/ 196 h 196"/>
                <a:gd name="T8" fmla="*/ 1380 w 1380"/>
                <a:gd name="T9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0" h="196">
                  <a:moveTo>
                    <a:pt x="1380" y="0"/>
                  </a:moveTo>
                  <a:lnTo>
                    <a:pt x="0" y="0"/>
                  </a:lnTo>
                  <a:lnTo>
                    <a:pt x="5" y="196"/>
                  </a:lnTo>
                  <a:lnTo>
                    <a:pt x="1373" y="196"/>
                  </a:lnTo>
                  <a:lnTo>
                    <a:pt x="1380" y="0"/>
                  </a:ln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09" name="Freeform 96">
              <a:extLst>
                <a:ext uri="{FF2B5EF4-FFF2-40B4-BE49-F238E27FC236}">
                  <a16:creationId xmlns:a16="http://schemas.microsoft.com/office/drawing/2014/main" id="{AC35B7D0-BD23-C470-C59E-074D45729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8350" y="2473325"/>
              <a:ext cx="276225" cy="1401763"/>
            </a:xfrm>
            <a:custGeom>
              <a:avLst/>
              <a:gdLst>
                <a:gd name="T0" fmla="*/ 0 w 696"/>
                <a:gd name="T1" fmla="*/ 375 h 3534"/>
                <a:gd name="T2" fmla="*/ 92 w 696"/>
                <a:gd name="T3" fmla="*/ 3513 h 3534"/>
                <a:gd name="T4" fmla="*/ 626 w 696"/>
                <a:gd name="T5" fmla="*/ 3534 h 3534"/>
                <a:gd name="T6" fmla="*/ 642 w 696"/>
                <a:gd name="T7" fmla="*/ 636 h 3534"/>
                <a:gd name="T8" fmla="*/ 696 w 696"/>
                <a:gd name="T9" fmla="*/ 0 h 3534"/>
                <a:gd name="T10" fmla="*/ 0 w 696"/>
                <a:gd name="T11" fmla="*/ 375 h 3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6" h="3534">
                  <a:moveTo>
                    <a:pt x="0" y="375"/>
                  </a:moveTo>
                  <a:lnTo>
                    <a:pt x="92" y="3513"/>
                  </a:lnTo>
                  <a:lnTo>
                    <a:pt x="626" y="3534"/>
                  </a:lnTo>
                  <a:lnTo>
                    <a:pt x="642" y="636"/>
                  </a:lnTo>
                  <a:lnTo>
                    <a:pt x="696" y="0"/>
                  </a:lnTo>
                  <a:lnTo>
                    <a:pt x="0" y="375"/>
                  </a:lnTo>
                  <a:close/>
                </a:path>
              </a:pathLst>
            </a:custGeom>
            <a:solidFill>
              <a:srgbClr val="111B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10" name="Freeform 97">
              <a:extLst>
                <a:ext uri="{FF2B5EF4-FFF2-40B4-BE49-F238E27FC236}">
                  <a16:creationId xmlns:a16="http://schemas.microsoft.com/office/drawing/2014/main" id="{1DD29FD9-91FB-82A2-E993-7C28A39E50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9175" y="2462213"/>
              <a:ext cx="223838" cy="1006475"/>
            </a:xfrm>
            <a:custGeom>
              <a:avLst/>
              <a:gdLst>
                <a:gd name="T0" fmla="*/ 262 w 565"/>
                <a:gd name="T1" fmla="*/ 0 h 2536"/>
                <a:gd name="T2" fmla="*/ 94 w 565"/>
                <a:gd name="T3" fmla="*/ 41 h 2536"/>
                <a:gd name="T4" fmla="*/ 0 w 565"/>
                <a:gd name="T5" fmla="*/ 162 h 2536"/>
                <a:gd name="T6" fmla="*/ 0 w 565"/>
                <a:gd name="T7" fmla="*/ 2536 h 2536"/>
                <a:gd name="T8" fmla="*/ 565 w 565"/>
                <a:gd name="T9" fmla="*/ 2536 h 2536"/>
                <a:gd name="T10" fmla="*/ 558 w 565"/>
                <a:gd name="T11" fmla="*/ 162 h 2536"/>
                <a:gd name="T12" fmla="*/ 437 w 565"/>
                <a:gd name="T13" fmla="*/ 35 h 2536"/>
                <a:gd name="T14" fmla="*/ 262 w 565"/>
                <a:gd name="T15" fmla="*/ 0 h 2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5" h="2536">
                  <a:moveTo>
                    <a:pt x="262" y="0"/>
                  </a:moveTo>
                  <a:lnTo>
                    <a:pt x="94" y="41"/>
                  </a:lnTo>
                  <a:lnTo>
                    <a:pt x="0" y="162"/>
                  </a:lnTo>
                  <a:lnTo>
                    <a:pt x="0" y="2536"/>
                  </a:lnTo>
                  <a:lnTo>
                    <a:pt x="565" y="2536"/>
                  </a:lnTo>
                  <a:lnTo>
                    <a:pt x="558" y="162"/>
                  </a:lnTo>
                  <a:lnTo>
                    <a:pt x="437" y="35"/>
                  </a:lnTo>
                  <a:lnTo>
                    <a:pt x="262" y="0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11" name="Freeform 98">
              <a:extLst>
                <a:ext uri="{FF2B5EF4-FFF2-40B4-BE49-F238E27FC236}">
                  <a16:creationId xmlns:a16="http://schemas.microsoft.com/office/drawing/2014/main" id="{E60C6BB8-705B-92FD-9CC5-42F6427B5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500" y="2489200"/>
              <a:ext cx="92075" cy="120650"/>
            </a:xfrm>
            <a:custGeom>
              <a:avLst/>
              <a:gdLst>
                <a:gd name="T0" fmla="*/ 111 w 232"/>
                <a:gd name="T1" fmla="*/ 0 h 305"/>
                <a:gd name="T2" fmla="*/ 0 w 232"/>
                <a:gd name="T3" fmla="*/ 171 h 305"/>
                <a:gd name="T4" fmla="*/ 71 w 232"/>
                <a:gd name="T5" fmla="*/ 305 h 305"/>
                <a:gd name="T6" fmla="*/ 155 w 232"/>
                <a:gd name="T7" fmla="*/ 305 h 305"/>
                <a:gd name="T8" fmla="*/ 232 w 232"/>
                <a:gd name="T9" fmla="*/ 171 h 305"/>
                <a:gd name="T10" fmla="*/ 111 w 232"/>
                <a:gd name="T11" fmla="*/ 0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2" h="305">
                  <a:moveTo>
                    <a:pt x="111" y="0"/>
                  </a:moveTo>
                  <a:lnTo>
                    <a:pt x="0" y="171"/>
                  </a:lnTo>
                  <a:lnTo>
                    <a:pt x="71" y="305"/>
                  </a:lnTo>
                  <a:lnTo>
                    <a:pt x="155" y="305"/>
                  </a:lnTo>
                  <a:lnTo>
                    <a:pt x="232" y="171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rgbClr val="FE5A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12" name="Freeform 99">
              <a:extLst>
                <a:ext uri="{FF2B5EF4-FFF2-40B4-BE49-F238E27FC236}">
                  <a16:creationId xmlns:a16="http://schemas.microsoft.com/office/drawing/2014/main" id="{7565F43E-0063-A35A-309D-AF933B1A8E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3463" y="2432050"/>
              <a:ext cx="196850" cy="150813"/>
            </a:xfrm>
            <a:custGeom>
              <a:avLst/>
              <a:gdLst>
                <a:gd name="T0" fmla="*/ 85 w 499"/>
                <a:gd name="T1" fmla="*/ 0 h 380"/>
                <a:gd name="T2" fmla="*/ 387 w 499"/>
                <a:gd name="T3" fmla="*/ 0 h 380"/>
                <a:gd name="T4" fmla="*/ 499 w 499"/>
                <a:gd name="T5" fmla="*/ 203 h 380"/>
                <a:gd name="T6" fmla="*/ 345 w 499"/>
                <a:gd name="T7" fmla="*/ 373 h 380"/>
                <a:gd name="T8" fmla="*/ 232 w 499"/>
                <a:gd name="T9" fmla="*/ 190 h 380"/>
                <a:gd name="T10" fmla="*/ 113 w 499"/>
                <a:gd name="T11" fmla="*/ 380 h 380"/>
                <a:gd name="T12" fmla="*/ 0 w 499"/>
                <a:gd name="T13" fmla="*/ 218 h 380"/>
                <a:gd name="T14" fmla="*/ 85 w 499"/>
                <a:gd name="T15" fmla="*/ 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9" h="380">
                  <a:moveTo>
                    <a:pt x="85" y="0"/>
                  </a:moveTo>
                  <a:lnTo>
                    <a:pt x="387" y="0"/>
                  </a:lnTo>
                  <a:lnTo>
                    <a:pt x="499" y="203"/>
                  </a:lnTo>
                  <a:lnTo>
                    <a:pt x="345" y="373"/>
                  </a:lnTo>
                  <a:lnTo>
                    <a:pt x="232" y="190"/>
                  </a:lnTo>
                  <a:lnTo>
                    <a:pt x="113" y="380"/>
                  </a:lnTo>
                  <a:lnTo>
                    <a:pt x="0" y="218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13" name="Freeform 100">
              <a:extLst>
                <a:ext uri="{FF2B5EF4-FFF2-40B4-BE49-F238E27FC236}">
                  <a16:creationId xmlns:a16="http://schemas.microsoft.com/office/drawing/2014/main" id="{DA2D409E-5E1D-7439-25BD-77AA17ABB6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4263" y="2351088"/>
              <a:ext cx="85725" cy="138113"/>
            </a:xfrm>
            <a:custGeom>
              <a:avLst/>
              <a:gdLst>
                <a:gd name="T0" fmla="*/ 0 w 217"/>
                <a:gd name="T1" fmla="*/ 28 h 346"/>
                <a:gd name="T2" fmla="*/ 0 w 217"/>
                <a:gd name="T3" fmla="*/ 259 h 346"/>
                <a:gd name="T4" fmla="*/ 101 w 217"/>
                <a:gd name="T5" fmla="*/ 346 h 346"/>
                <a:gd name="T6" fmla="*/ 217 w 217"/>
                <a:gd name="T7" fmla="*/ 259 h 346"/>
                <a:gd name="T8" fmla="*/ 217 w 217"/>
                <a:gd name="T9" fmla="*/ 0 h 346"/>
                <a:gd name="T10" fmla="*/ 189 w 217"/>
                <a:gd name="T11" fmla="*/ 8 h 346"/>
                <a:gd name="T12" fmla="*/ 67 w 217"/>
                <a:gd name="T13" fmla="*/ 34 h 346"/>
                <a:gd name="T14" fmla="*/ 20 w 217"/>
                <a:gd name="T15" fmla="*/ 37 h 346"/>
                <a:gd name="T16" fmla="*/ 1 w 217"/>
                <a:gd name="T17" fmla="*/ 34 h 346"/>
                <a:gd name="T18" fmla="*/ 0 w 217"/>
                <a:gd name="T19" fmla="*/ 2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7" h="346">
                  <a:moveTo>
                    <a:pt x="0" y="28"/>
                  </a:moveTo>
                  <a:lnTo>
                    <a:pt x="0" y="259"/>
                  </a:lnTo>
                  <a:lnTo>
                    <a:pt x="101" y="346"/>
                  </a:lnTo>
                  <a:lnTo>
                    <a:pt x="217" y="259"/>
                  </a:lnTo>
                  <a:lnTo>
                    <a:pt x="217" y="0"/>
                  </a:lnTo>
                  <a:lnTo>
                    <a:pt x="189" y="8"/>
                  </a:lnTo>
                  <a:lnTo>
                    <a:pt x="67" y="34"/>
                  </a:lnTo>
                  <a:lnTo>
                    <a:pt x="20" y="37"/>
                  </a:lnTo>
                  <a:lnTo>
                    <a:pt x="1" y="34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D9AA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14" name="Freeform 101">
              <a:extLst>
                <a:ext uri="{FF2B5EF4-FFF2-40B4-BE49-F238E27FC236}">
                  <a16:creationId xmlns:a16="http://schemas.microsoft.com/office/drawing/2014/main" id="{06267993-51AB-781E-5E52-C9A2859052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500" y="2584450"/>
              <a:ext cx="84138" cy="812800"/>
            </a:xfrm>
            <a:custGeom>
              <a:avLst/>
              <a:gdLst>
                <a:gd name="T0" fmla="*/ 84 w 211"/>
                <a:gd name="T1" fmla="*/ 0 h 2045"/>
                <a:gd name="T2" fmla="*/ 0 w 211"/>
                <a:gd name="T3" fmla="*/ 1926 h 2045"/>
                <a:gd name="T4" fmla="*/ 98 w 211"/>
                <a:gd name="T5" fmla="*/ 2045 h 2045"/>
                <a:gd name="T6" fmla="*/ 211 w 211"/>
                <a:gd name="T7" fmla="*/ 1920 h 2045"/>
                <a:gd name="T8" fmla="*/ 147 w 211"/>
                <a:gd name="T9" fmla="*/ 0 h 2045"/>
                <a:gd name="T10" fmla="*/ 84 w 211"/>
                <a:gd name="T11" fmla="*/ 0 h 20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1" h="2045">
                  <a:moveTo>
                    <a:pt x="84" y="0"/>
                  </a:moveTo>
                  <a:lnTo>
                    <a:pt x="0" y="1926"/>
                  </a:lnTo>
                  <a:lnTo>
                    <a:pt x="98" y="2045"/>
                  </a:lnTo>
                  <a:lnTo>
                    <a:pt x="211" y="1920"/>
                  </a:lnTo>
                  <a:lnTo>
                    <a:pt x="147" y="0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FE5A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15" name="Freeform 102">
              <a:extLst>
                <a:ext uri="{FF2B5EF4-FFF2-40B4-BE49-F238E27FC236}">
                  <a16:creationId xmlns:a16="http://schemas.microsoft.com/office/drawing/2014/main" id="{F8841320-5747-E233-0BBC-0A6F351E55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7613" y="2481263"/>
              <a:ext cx="273050" cy="1398588"/>
            </a:xfrm>
            <a:custGeom>
              <a:avLst/>
              <a:gdLst>
                <a:gd name="T0" fmla="*/ 689 w 689"/>
                <a:gd name="T1" fmla="*/ 348 h 3524"/>
                <a:gd name="T2" fmla="*/ 0 w 689"/>
                <a:gd name="T3" fmla="*/ 0 h 3524"/>
                <a:gd name="T4" fmla="*/ 55 w 689"/>
                <a:gd name="T5" fmla="*/ 621 h 3524"/>
                <a:gd name="T6" fmla="*/ 0 w 689"/>
                <a:gd name="T7" fmla="*/ 3524 h 3524"/>
                <a:gd name="T8" fmla="*/ 634 w 689"/>
                <a:gd name="T9" fmla="*/ 3480 h 3524"/>
                <a:gd name="T10" fmla="*/ 689 w 689"/>
                <a:gd name="T11" fmla="*/ 348 h 3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9" h="3524">
                  <a:moveTo>
                    <a:pt x="689" y="348"/>
                  </a:moveTo>
                  <a:lnTo>
                    <a:pt x="0" y="0"/>
                  </a:lnTo>
                  <a:lnTo>
                    <a:pt x="55" y="621"/>
                  </a:lnTo>
                  <a:lnTo>
                    <a:pt x="0" y="3524"/>
                  </a:lnTo>
                  <a:lnTo>
                    <a:pt x="634" y="3480"/>
                  </a:lnTo>
                  <a:lnTo>
                    <a:pt x="689" y="348"/>
                  </a:lnTo>
                  <a:close/>
                </a:path>
              </a:pathLst>
            </a:custGeom>
            <a:solidFill>
              <a:srgbClr val="111B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16" name="Freeform 103">
              <a:extLst>
                <a:ext uri="{FF2B5EF4-FFF2-40B4-BE49-F238E27FC236}">
                  <a16:creationId xmlns:a16="http://schemas.microsoft.com/office/drawing/2014/main" id="{53EDAB9A-D3D4-8801-9A01-22F6E8C59A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225" y="2473325"/>
              <a:ext cx="133350" cy="1073150"/>
            </a:xfrm>
            <a:custGeom>
              <a:avLst/>
              <a:gdLst>
                <a:gd name="T0" fmla="*/ 334 w 334"/>
                <a:gd name="T1" fmla="*/ 0 h 2704"/>
                <a:gd name="T2" fmla="*/ 248 w 334"/>
                <a:gd name="T3" fmla="*/ 56 h 2704"/>
                <a:gd name="T4" fmla="*/ 107 w 334"/>
                <a:gd name="T5" fmla="*/ 255 h 2704"/>
                <a:gd name="T6" fmla="*/ 140 w 334"/>
                <a:gd name="T7" fmla="*/ 462 h 2704"/>
                <a:gd name="T8" fmla="*/ 3 w 334"/>
                <a:gd name="T9" fmla="*/ 524 h 2704"/>
                <a:gd name="T10" fmla="*/ 1 w 334"/>
                <a:gd name="T11" fmla="*/ 535 h 2704"/>
                <a:gd name="T12" fmla="*/ 0 w 334"/>
                <a:gd name="T13" fmla="*/ 537 h 2704"/>
                <a:gd name="T14" fmla="*/ 267 w 334"/>
                <a:gd name="T15" fmla="*/ 2704 h 2704"/>
                <a:gd name="T16" fmla="*/ 280 w 334"/>
                <a:gd name="T17" fmla="*/ 636 h 2704"/>
                <a:gd name="T18" fmla="*/ 334 w 334"/>
                <a:gd name="T19" fmla="*/ 0 h 2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2704">
                  <a:moveTo>
                    <a:pt x="334" y="0"/>
                  </a:moveTo>
                  <a:lnTo>
                    <a:pt x="248" y="56"/>
                  </a:lnTo>
                  <a:lnTo>
                    <a:pt x="107" y="255"/>
                  </a:lnTo>
                  <a:lnTo>
                    <a:pt x="140" y="462"/>
                  </a:lnTo>
                  <a:lnTo>
                    <a:pt x="3" y="524"/>
                  </a:lnTo>
                  <a:lnTo>
                    <a:pt x="1" y="535"/>
                  </a:lnTo>
                  <a:lnTo>
                    <a:pt x="0" y="537"/>
                  </a:lnTo>
                  <a:lnTo>
                    <a:pt x="267" y="2704"/>
                  </a:lnTo>
                  <a:lnTo>
                    <a:pt x="280" y="636"/>
                  </a:lnTo>
                  <a:lnTo>
                    <a:pt x="334" y="0"/>
                  </a:lnTo>
                  <a:close/>
                </a:path>
              </a:pathLst>
            </a:custGeom>
            <a:solidFill>
              <a:srgbClr val="4148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17" name="Freeform 104">
              <a:extLst>
                <a:ext uri="{FF2B5EF4-FFF2-40B4-BE49-F238E27FC236}">
                  <a16:creationId xmlns:a16="http://schemas.microsoft.com/office/drawing/2014/main" id="{AF48FFF1-BCBD-F658-69D9-BDAE9510AC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1263" y="2471738"/>
              <a:ext cx="134938" cy="1077913"/>
            </a:xfrm>
            <a:custGeom>
              <a:avLst/>
              <a:gdLst>
                <a:gd name="T0" fmla="*/ 0 w 340"/>
                <a:gd name="T1" fmla="*/ 0 h 2716"/>
                <a:gd name="T2" fmla="*/ 92 w 340"/>
                <a:gd name="T3" fmla="*/ 59 h 2716"/>
                <a:gd name="T4" fmla="*/ 232 w 340"/>
                <a:gd name="T5" fmla="*/ 258 h 2716"/>
                <a:gd name="T6" fmla="*/ 200 w 340"/>
                <a:gd name="T7" fmla="*/ 465 h 2716"/>
                <a:gd name="T8" fmla="*/ 336 w 340"/>
                <a:gd name="T9" fmla="*/ 527 h 2716"/>
                <a:gd name="T10" fmla="*/ 340 w 340"/>
                <a:gd name="T11" fmla="*/ 538 h 2716"/>
                <a:gd name="T12" fmla="*/ 340 w 340"/>
                <a:gd name="T13" fmla="*/ 540 h 2716"/>
                <a:gd name="T14" fmla="*/ 16 w 340"/>
                <a:gd name="T15" fmla="*/ 2716 h 2716"/>
                <a:gd name="T16" fmla="*/ 61 w 340"/>
                <a:gd name="T17" fmla="*/ 639 h 2716"/>
                <a:gd name="T18" fmla="*/ 0 w 340"/>
                <a:gd name="T19" fmla="*/ 0 h 2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2716">
                  <a:moveTo>
                    <a:pt x="0" y="0"/>
                  </a:moveTo>
                  <a:lnTo>
                    <a:pt x="92" y="59"/>
                  </a:lnTo>
                  <a:lnTo>
                    <a:pt x="232" y="258"/>
                  </a:lnTo>
                  <a:lnTo>
                    <a:pt x="200" y="465"/>
                  </a:lnTo>
                  <a:lnTo>
                    <a:pt x="336" y="527"/>
                  </a:lnTo>
                  <a:lnTo>
                    <a:pt x="340" y="538"/>
                  </a:lnTo>
                  <a:lnTo>
                    <a:pt x="340" y="540"/>
                  </a:lnTo>
                  <a:lnTo>
                    <a:pt x="16" y="2716"/>
                  </a:lnTo>
                  <a:lnTo>
                    <a:pt x="61" y="6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148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4925E2A2-84FF-8646-B55C-7A2313165D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2675" y="3468688"/>
              <a:ext cx="93663" cy="76200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19" name="Freeform 106">
              <a:extLst>
                <a:ext uri="{FF2B5EF4-FFF2-40B4-BE49-F238E27FC236}">
                  <a16:creationId xmlns:a16="http://schemas.microsoft.com/office/drawing/2014/main" id="{15F05E4B-CF8D-B578-8A8F-A482A5E8B4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3575" y="3549650"/>
              <a:ext cx="161925" cy="244475"/>
            </a:xfrm>
            <a:custGeom>
              <a:avLst/>
              <a:gdLst>
                <a:gd name="T0" fmla="*/ 129 w 410"/>
                <a:gd name="T1" fmla="*/ 0 h 616"/>
                <a:gd name="T2" fmla="*/ 180 w 410"/>
                <a:gd name="T3" fmla="*/ 33 h 616"/>
                <a:gd name="T4" fmla="*/ 256 w 410"/>
                <a:gd name="T5" fmla="*/ 91 h 616"/>
                <a:gd name="T6" fmla="*/ 303 w 410"/>
                <a:gd name="T7" fmla="*/ 136 h 616"/>
                <a:gd name="T8" fmla="*/ 343 w 410"/>
                <a:gd name="T9" fmla="*/ 184 h 616"/>
                <a:gd name="T10" fmla="*/ 377 w 410"/>
                <a:gd name="T11" fmla="*/ 237 h 616"/>
                <a:gd name="T12" fmla="*/ 400 w 410"/>
                <a:gd name="T13" fmla="*/ 295 h 616"/>
                <a:gd name="T14" fmla="*/ 410 w 410"/>
                <a:gd name="T15" fmla="*/ 357 h 616"/>
                <a:gd name="T16" fmla="*/ 410 w 410"/>
                <a:gd name="T17" fmla="*/ 389 h 616"/>
                <a:gd name="T18" fmla="*/ 407 w 410"/>
                <a:gd name="T19" fmla="*/ 441 h 616"/>
                <a:gd name="T20" fmla="*/ 392 w 410"/>
                <a:gd name="T21" fmla="*/ 498 h 616"/>
                <a:gd name="T22" fmla="*/ 378 w 410"/>
                <a:gd name="T23" fmla="*/ 528 h 616"/>
                <a:gd name="T24" fmla="*/ 357 w 410"/>
                <a:gd name="T25" fmla="*/ 551 h 616"/>
                <a:gd name="T26" fmla="*/ 330 w 410"/>
                <a:gd name="T27" fmla="*/ 569 h 616"/>
                <a:gd name="T28" fmla="*/ 277 w 410"/>
                <a:gd name="T29" fmla="*/ 591 h 616"/>
                <a:gd name="T30" fmla="*/ 226 w 410"/>
                <a:gd name="T31" fmla="*/ 606 h 616"/>
                <a:gd name="T32" fmla="*/ 207 w 410"/>
                <a:gd name="T33" fmla="*/ 609 h 616"/>
                <a:gd name="T34" fmla="*/ 154 w 410"/>
                <a:gd name="T35" fmla="*/ 616 h 616"/>
                <a:gd name="T36" fmla="*/ 99 w 410"/>
                <a:gd name="T37" fmla="*/ 613 h 616"/>
                <a:gd name="T38" fmla="*/ 64 w 410"/>
                <a:gd name="T39" fmla="*/ 600 h 616"/>
                <a:gd name="T40" fmla="*/ 46 w 410"/>
                <a:gd name="T41" fmla="*/ 585 h 616"/>
                <a:gd name="T42" fmla="*/ 40 w 410"/>
                <a:gd name="T43" fmla="*/ 576 h 616"/>
                <a:gd name="T44" fmla="*/ 31 w 410"/>
                <a:gd name="T45" fmla="*/ 559 h 616"/>
                <a:gd name="T46" fmla="*/ 25 w 410"/>
                <a:gd name="T47" fmla="*/ 533 h 616"/>
                <a:gd name="T48" fmla="*/ 29 w 410"/>
                <a:gd name="T49" fmla="*/ 516 h 616"/>
                <a:gd name="T50" fmla="*/ 41 w 410"/>
                <a:gd name="T51" fmla="*/ 504 h 616"/>
                <a:gd name="T52" fmla="*/ 92 w 410"/>
                <a:gd name="T53" fmla="*/ 492 h 616"/>
                <a:gd name="T54" fmla="*/ 129 w 410"/>
                <a:gd name="T55" fmla="*/ 486 h 616"/>
                <a:gd name="T56" fmla="*/ 145 w 410"/>
                <a:gd name="T57" fmla="*/ 480 h 616"/>
                <a:gd name="T58" fmla="*/ 173 w 410"/>
                <a:gd name="T59" fmla="*/ 453 h 616"/>
                <a:gd name="T60" fmla="*/ 188 w 410"/>
                <a:gd name="T61" fmla="*/ 415 h 616"/>
                <a:gd name="T62" fmla="*/ 182 w 410"/>
                <a:gd name="T63" fmla="*/ 384 h 616"/>
                <a:gd name="T64" fmla="*/ 171 w 410"/>
                <a:gd name="T65" fmla="*/ 366 h 616"/>
                <a:gd name="T66" fmla="*/ 162 w 410"/>
                <a:gd name="T67" fmla="*/ 357 h 616"/>
                <a:gd name="T68" fmla="*/ 141 w 410"/>
                <a:gd name="T69" fmla="*/ 339 h 616"/>
                <a:gd name="T70" fmla="*/ 111 w 410"/>
                <a:gd name="T71" fmla="*/ 307 h 616"/>
                <a:gd name="T72" fmla="*/ 86 w 410"/>
                <a:gd name="T73" fmla="*/ 267 h 616"/>
                <a:gd name="T74" fmla="*/ 68 w 410"/>
                <a:gd name="T75" fmla="*/ 213 h 616"/>
                <a:gd name="T76" fmla="*/ 35 w 410"/>
                <a:gd name="T77" fmla="*/ 144 h 616"/>
                <a:gd name="T78" fmla="*/ 0 w 410"/>
                <a:gd name="T79" fmla="*/ 98 h 616"/>
                <a:gd name="T80" fmla="*/ 24 w 410"/>
                <a:gd name="T81" fmla="*/ 82 h 616"/>
                <a:gd name="T82" fmla="*/ 68 w 410"/>
                <a:gd name="T83" fmla="*/ 43 h 616"/>
                <a:gd name="T84" fmla="*/ 86 w 410"/>
                <a:gd name="T85" fmla="*/ 20 h 616"/>
                <a:gd name="T86" fmla="*/ 95 w 410"/>
                <a:gd name="T87" fmla="*/ 31 h 616"/>
                <a:gd name="T88" fmla="*/ 108 w 410"/>
                <a:gd name="T89" fmla="*/ 34 h 616"/>
                <a:gd name="T90" fmla="*/ 120 w 410"/>
                <a:gd name="T91" fmla="*/ 18 h 616"/>
                <a:gd name="T92" fmla="*/ 129 w 410"/>
                <a:gd name="T93" fmla="*/ 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10" h="616">
                  <a:moveTo>
                    <a:pt x="129" y="0"/>
                  </a:moveTo>
                  <a:lnTo>
                    <a:pt x="180" y="33"/>
                  </a:lnTo>
                  <a:lnTo>
                    <a:pt x="256" y="91"/>
                  </a:lnTo>
                  <a:lnTo>
                    <a:pt x="303" y="136"/>
                  </a:lnTo>
                  <a:lnTo>
                    <a:pt x="343" y="184"/>
                  </a:lnTo>
                  <a:lnTo>
                    <a:pt x="377" y="237"/>
                  </a:lnTo>
                  <a:lnTo>
                    <a:pt x="400" y="295"/>
                  </a:lnTo>
                  <a:lnTo>
                    <a:pt x="410" y="357"/>
                  </a:lnTo>
                  <a:lnTo>
                    <a:pt x="410" y="389"/>
                  </a:lnTo>
                  <a:lnTo>
                    <a:pt x="407" y="441"/>
                  </a:lnTo>
                  <a:lnTo>
                    <a:pt x="392" y="498"/>
                  </a:lnTo>
                  <a:lnTo>
                    <a:pt x="378" y="528"/>
                  </a:lnTo>
                  <a:lnTo>
                    <a:pt x="357" y="551"/>
                  </a:lnTo>
                  <a:lnTo>
                    <a:pt x="330" y="569"/>
                  </a:lnTo>
                  <a:lnTo>
                    <a:pt x="277" y="591"/>
                  </a:lnTo>
                  <a:lnTo>
                    <a:pt x="226" y="606"/>
                  </a:lnTo>
                  <a:lnTo>
                    <a:pt x="207" y="609"/>
                  </a:lnTo>
                  <a:lnTo>
                    <a:pt x="154" y="616"/>
                  </a:lnTo>
                  <a:lnTo>
                    <a:pt x="99" y="613"/>
                  </a:lnTo>
                  <a:lnTo>
                    <a:pt x="64" y="600"/>
                  </a:lnTo>
                  <a:lnTo>
                    <a:pt x="46" y="585"/>
                  </a:lnTo>
                  <a:lnTo>
                    <a:pt x="40" y="576"/>
                  </a:lnTo>
                  <a:lnTo>
                    <a:pt x="31" y="559"/>
                  </a:lnTo>
                  <a:lnTo>
                    <a:pt x="25" y="533"/>
                  </a:lnTo>
                  <a:lnTo>
                    <a:pt x="29" y="516"/>
                  </a:lnTo>
                  <a:lnTo>
                    <a:pt x="41" y="504"/>
                  </a:lnTo>
                  <a:lnTo>
                    <a:pt x="92" y="492"/>
                  </a:lnTo>
                  <a:lnTo>
                    <a:pt x="129" y="486"/>
                  </a:lnTo>
                  <a:lnTo>
                    <a:pt x="145" y="480"/>
                  </a:lnTo>
                  <a:lnTo>
                    <a:pt x="173" y="453"/>
                  </a:lnTo>
                  <a:lnTo>
                    <a:pt x="188" y="415"/>
                  </a:lnTo>
                  <a:lnTo>
                    <a:pt x="182" y="384"/>
                  </a:lnTo>
                  <a:lnTo>
                    <a:pt x="171" y="366"/>
                  </a:lnTo>
                  <a:lnTo>
                    <a:pt x="162" y="357"/>
                  </a:lnTo>
                  <a:lnTo>
                    <a:pt x="141" y="339"/>
                  </a:lnTo>
                  <a:lnTo>
                    <a:pt x="111" y="307"/>
                  </a:lnTo>
                  <a:lnTo>
                    <a:pt x="86" y="267"/>
                  </a:lnTo>
                  <a:lnTo>
                    <a:pt x="68" y="213"/>
                  </a:lnTo>
                  <a:lnTo>
                    <a:pt x="35" y="144"/>
                  </a:lnTo>
                  <a:lnTo>
                    <a:pt x="0" y="98"/>
                  </a:lnTo>
                  <a:lnTo>
                    <a:pt x="24" y="82"/>
                  </a:lnTo>
                  <a:lnTo>
                    <a:pt x="68" y="43"/>
                  </a:lnTo>
                  <a:lnTo>
                    <a:pt x="86" y="20"/>
                  </a:lnTo>
                  <a:lnTo>
                    <a:pt x="95" y="31"/>
                  </a:lnTo>
                  <a:lnTo>
                    <a:pt x="108" y="34"/>
                  </a:lnTo>
                  <a:lnTo>
                    <a:pt x="120" y="18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E0BB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20" name="Freeform 107">
              <a:extLst>
                <a:ext uri="{FF2B5EF4-FFF2-40B4-BE49-F238E27FC236}">
                  <a16:creationId xmlns:a16="http://schemas.microsoft.com/office/drawing/2014/main" id="{2D664C81-3B1F-F2C1-FFDA-9B4ACCAFDA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1188" y="3502025"/>
              <a:ext cx="103188" cy="115888"/>
            </a:xfrm>
            <a:custGeom>
              <a:avLst/>
              <a:gdLst>
                <a:gd name="T0" fmla="*/ 1 w 259"/>
                <a:gd name="T1" fmla="*/ 207 h 293"/>
                <a:gd name="T2" fmla="*/ 68 w 259"/>
                <a:gd name="T3" fmla="*/ 251 h 293"/>
                <a:gd name="T4" fmla="*/ 140 w 259"/>
                <a:gd name="T5" fmla="*/ 293 h 293"/>
                <a:gd name="T6" fmla="*/ 202 w 259"/>
                <a:gd name="T7" fmla="*/ 186 h 293"/>
                <a:gd name="T8" fmla="*/ 259 w 259"/>
                <a:gd name="T9" fmla="*/ 79 h 293"/>
                <a:gd name="T10" fmla="*/ 225 w 259"/>
                <a:gd name="T11" fmla="*/ 57 h 293"/>
                <a:gd name="T12" fmla="*/ 175 w 259"/>
                <a:gd name="T13" fmla="*/ 22 h 293"/>
                <a:gd name="T14" fmla="*/ 138 w 259"/>
                <a:gd name="T15" fmla="*/ 5 h 293"/>
                <a:gd name="T16" fmla="*/ 119 w 259"/>
                <a:gd name="T17" fmla="*/ 0 h 293"/>
                <a:gd name="T18" fmla="*/ 88 w 259"/>
                <a:gd name="T19" fmla="*/ 46 h 293"/>
                <a:gd name="T20" fmla="*/ 36 w 259"/>
                <a:gd name="T21" fmla="*/ 122 h 293"/>
                <a:gd name="T22" fmla="*/ 9 w 259"/>
                <a:gd name="T23" fmla="*/ 172 h 293"/>
                <a:gd name="T24" fmla="*/ 0 w 259"/>
                <a:gd name="T25" fmla="*/ 198 h 293"/>
                <a:gd name="T26" fmla="*/ 0 w 259"/>
                <a:gd name="T27" fmla="*/ 183 h 293"/>
                <a:gd name="T28" fmla="*/ 1 w 259"/>
                <a:gd name="T29" fmla="*/ 163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9" h="293">
                  <a:moveTo>
                    <a:pt x="1" y="207"/>
                  </a:moveTo>
                  <a:lnTo>
                    <a:pt x="68" y="251"/>
                  </a:lnTo>
                  <a:lnTo>
                    <a:pt x="140" y="293"/>
                  </a:lnTo>
                  <a:lnTo>
                    <a:pt x="202" y="186"/>
                  </a:lnTo>
                  <a:lnTo>
                    <a:pt x="259" y="79"/>
                  </a:lnTo>
                  <a:lnTo>
                    <a:pt x="225" y="57"/>
                  </a:lnTo>
                  <a:lnTo>
                    <a:pt x="175" y="22"/>
                  </a:lnTo>
                  <a:lnTo>
                    <a:pt x="138" y="5"/>
                  </a:lnTo>
                  <a:lnTo>
                    <a:pt x="119" y="0"/>
                  </a:lnTo>
                  <a:lnTo>
                    <a:pt x="88" y="46"/>
                  </a:lnTo>
                  <a:lnTo>
                    <a:pt x="36" y="122"/>
                  </a:lnTo>
                  <a:lnTo>
                    <a:pt x="9" y="172"/>
                  </a:lnTo>
                  <a:lnTo>
                    <a:pt x="0" y="198"/>
                  </a:lnTo>
                  <a:lnTo>
                    <a:pt x="0" y="183"/>
                  </a:lnTo>
                  <a:lnTo>
                    <a:pt x="1" y="16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21" name="Freeform 108">
              <a:extLst>
                <a:ext uri="{FF2B5EF4-FFF2-40B4-BE49-F238E27FC236}">
                  <a16:creationId xmlns:a16="http://schemas.microsoft.com/office/drawing/2014/main" id="{BF00561E-2ED2-4F23-6121-D6A32B7B015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175" y="2620963"/>
              <a:ext cx="395288" cy="996950"/>
            </a:xfrm>
            <a:custGeom>
              <a:avLst/>
              <a:gdLst>
                <a:gd name="T0" fmla="*/ 968 w 995"/>
                <a:gd name="T1" fmla="*/ 0 h 2511"/>
                <a:gd name="T2" fmla="*/ 938 w 995"/>
                <a:gd name="T3" fmla="*/ 21 h 2511"/>
                <a:gd name="T4" fmla="*/ 749 w 995"/>
                <a:gd name="T5" fmla="*/ 172 h 2511"/>
                <a:gd name="T6" fmla="*/ 582 w 995"/>
                <a:gd name="T7" fmla="*/ 324 h 2511"/>
                <a:gd name="T8" fmla="*/ 448 w 995"/>
                <a:gd name="T9" fmla="*/ 463 h 2511"/>
                <a:gd name="T10" fmla="*/ 359 w 995"/>
                <a:gd name="T11" fmla="*/ 564 h 2511"/>
                <a:gd name="T12" fmla="*/ 275 w 995"/>
                <a:gd name="T13" fmla="*/ 671 h 2511"/>
                <a:gd name="T14" fmla="*/ 197 w 995"/>
                <a:gd name="T15" fmla="*/ 784 h 2511"/>
                <a:gd name="T16" fmla="*/ 128 w 995"/>
                <a:gd name="T17" fmla="*/ 902 h 2511"/>
                <a:gd name="T18" fmla="*/ 71 w 995"/>
                <a:gd name="T19" fmla="*/ 1023 h 2511"/>
                <a:gd name="T20" fmla="*/ 30 w 995"/>
                <a:gd name="T21" fmla="*/ 1146 h 2511"/>
                <a:gd name="T22" fmla="*/ 5 w 995"/>
                <a:gd name="T23" fmla="*/ 1272 h 2511"/>
                <a:gd name="T24" fmla="*/ 1 w 995"/>
                <a:gd name="T25" fmla="*/ 1334 h 2511"/>
                <a:gd name="T26" fmla="*/ 0 w 995"/>
                <a:gd name="T27" fmla="*/ 1396 h 2511"/>
                <a:gd name="T28" fmla="*/ 10 w 995"/>
                <a:gd name="T29" fmla="*/ 1518 h 2511"/>
                <a:gd name="T30" fmla="*/ 32 w 995"/>
                <a:gd name="T31" fmla="*/ 1634 h 2511"/>
                <a:gd name="T32" fmla="*/ 65 w 995"/>
                <a:gd name="T33" fmla="*/ 1747 h 2511"/>
                <a:gd name="T34" fmla="*/ 106 w 995"/>
                <a:gd name="T35" fmla="*/ 1854 h 2511"/>
                <a:gd name="T36" fmla="*/ 154 w 995"/>
                <a:gd name="T37" fmla="*/ 1953 h 2511"/>
                <a:gd name="T38" fmla="*/ 233 w 995"/>
                <a:gd name="T39" fmla="*/ 2092 h 2511"/>
                <a:gd name="T40" fmla="*/ 347 w 995"/>
                <a:gd name="T41" fmla="*/ 2250 h 2511"/>
                <a:gd name="T42" fmla="*/ 453 w 995"/>
                <a:gd name="T43" fmla="*/ 2375 h 2511"/>
                <a:gd name="T44" fmla="*/ 575 w 995"/>
                <a:gd name="T45" fmla="*/ 2495 h 2511"/>
                <a:gd name="T46" fmla="*/ 595 w 995"/>
                <a:gd name="T47" fmla="*/ 2511 h 2511"/>
                <a:gd name="T48" fmla="*/ 768 w 995"/>
                <a:gd name="T49" fmla="*/ 2241 h 2511"/>
                <a:gd name="T50" fmla="*/ 750 w 995"/>
                <a:gd name="T51" fmla="*/ 2228 h 2511"/>
                <a:gd name="T52" fmla="*/ 640 w 995"/>
                <a:gd name="T53" fmla="*/ 2134 h 2511"/>
                <a:gd name="T54" fmla="*/ 545 w 995"/>
                <a:gd name="T55" fmla="*/ 2036 h 2511"/>
                <a:gd name="T56" fmla="*/ 451 w 995"/>
                <a:gd name="T57" fmla="*/ 1913 h 2511"/>
                <a:gd name="T58" fmla="*/ 389 w 995"/>
                <a:gd name="T59" fmla="*/ 1804 h 2511"/>
                <a:gd name="T60" fmla="*/ 354 w 995"/>
                <a:gd name="T61" fmla="*/ 1727 h 2511"/>
                <a:gd name="T62" fmla="*/ 328 w 995"/>
                <a:gd name="T63" fmla="*/ 1644 h 2511"/>
                <a:gd name="T64" fmla="*/ 311 w 995"/>
                <a:gd name="T65" fmla="*/ 1557 h 2511"/>
                <a:gd name="T66" fmla="*/ 306 w 995"/>
                <a:gd name="T67" fmla="*/ 1466 h 2511"/>
                <a:gd name="T68" fmla="*/ 315 w 995"/>
                <a:gd name="T69" fmla="*/ 1371 h 2511"/>
                <a:gd name="T70" fmla="*/ 325 w 995"/>
                <a:gd name="T71" fmla="*/ 1323 h 2511"/>
                <a:gd name="T72" fmla="*/ 338 w 995"/>
                <a:gd name="T73" fmla="*/ 1275 h 2511"/>
                <a:gd name="T74" fmla="*/ 372 w 995"/>
                <a:gd name="T75" fmla="*/ 1186 h 2511"/>
                <a:gd name="T76" fmla="*/ 412 w 995"/>
                <a:gd name="T77" fmla="*/ 1103 h 2511"/>
                <a:gd name="T78" fmla="*/ 459 w 995"/>
                <a:gd name="T79" fmla="*/ 1029 h 2511"/>
                <a:gd name="T80" fmla="*/ 510 w 995"/>
                <a:gd name="T81" fmla="*/ 962 h 2511"/>
                <a:gd name="T82" fmla="*/ 566 w 995"/>
                <a:gd name="T83" fmla="*/ 901 h 2511"/>
                <a:gd name="T84" fmla="*/ 652 w 995"/>
                <a:gd name="T85" fmla="*/ 821 h 2511"/>
                <a:gd name="T86" fmla="*/ 764 w 995"/>
                <a:gd name="T87" fmla="*/ 738 h 2511"/>
                <a:gd name="T88" fmla="*/ 867 w 995"/>
                <a:gd name="T89" fmla="*/ 678 h 2511"/>
                <a:gd name="T90" fmla="*/ 978 w 995"/>
                <a:gd name="T91" fmla="*/ 626 h 2511"/>
                <a:gd name="T92" fmla="*/ 995 w 995"/>
                <a:gd name="T93" fmla="*/ 621 h 2511"/>
                <a:gd name="T94" fmla="*/ 968 w 995"/>
                <a:gd name="T95" fmla="*/ 0 h 2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95" h="2511">
                  <a:moveTo>
                    <a:pt x="968" y="0"/>
                  </a:moveTo>
                  <a:lnTo>
                    <a:pt x="938" y="21"/>
                  </a:lnTo>
                  <a:lnTo>
                    <a:pt x="749" y="172"/>
                  </a:lnTo>
                  <a:lnTo>
                    <a:pt x="582" y="324"/>
                  </a:lnTo>
                  <a:lnTo>
                    <a:pt x="448" y="463"/>
                  </a:lnTo>
                  <a:lnTo>
                    <a:pt x="359" y="564"/>
                  </a:lnTo>
                  <a:lnTo>
                    <a:pt x="275" y="671"/>
                  </a:lnTo>
                  <a:lnTo>
                    <a:pt x="197" y="784"/>
                  </a:lnTo>
                  <a:lnTo>
                    <a:pt x="128" y="902"/>
                  </a:lnTo>
                  <a:lnTo>
                    <a:pt x="71" y="1023"/>
                  </a:lnTo>
                  <a:lnTo>
                    <a:pt x="30" y="1146"/>
                  </a:lnTo>
                  <a:lnTo>
                    <a:pt x="5" y="1272"/>
                  </a:lnTo>
                  <a:lnTo>
                    <a:pt x="1" y="1334"/>
                  </a:lnTo>
                  <a:lnTo>
                    <a:pt x="0" y="1396"/>
                  </a:lnTo>
                  <a:lnTo>
                    <a:pt x="10" y="1518"/>
                  </a:lnTo>
                  <a:lnTo>
                    <a:pt x="32" y="1634"/>
                  </a:lnTo>
                  <a:lnTo>
                    <a:pt x="65" y="1747"/>
                  </a:lnTo>
                  <a:lnTo>
                    <a:pt x="106" y="1854"/>
                  </a:lnTo>
                  <a:lnTo>
                    <a:pt x="154" y="1953"/>
                  </a:lnTo>
                  <a:lnTo>
                    <a:pt x="233" y="2092"/>
                  </a:lnTo>
                  <a:lnTo>
                    <a:pt x="347" y="2250"/>
                  </a:lnTo>
                  <a:lnTo>
                    <a:pt x="453" y="2375"/>
                  </a:lnTo>
                  <a:lnTo>
                    <a:pt x="575" y="2495"/>
                  </a:lnTo>
                  <a:lnTo>
                    <a:pt x="595" y="2511"/>
                  </a:lnTo>
                  <a:lnTo>
                    <a:pt x="768" y="2241"/>
                  </a:lnTo>
                  <a:lnTo>
                    <a:pt x="750" y="2228"/>
                  </a:lnTo>
                  <a:lnTo>
                    <a:pt x="640" y="2134"/>
                  </a:lnTo>
                  <a:lnTo>
                    <a:pt x="545" y="2036"/>
                  </a:lnTo>
                  <a:lnTo>
                    <a:pt x="451" y="1913"/>
                  </a:lnTo>
                  <a:lnTo>
                    <a:pt x="389" y="1804"/>
                  </a:lnTo>
                  <a:lnTo>
                    <a:pt x="354" y="1727"/>
                  </a:lnTo>
                  <a:lnTo>
                    <a:pt x="328" y="1644"/>
                  </a:lnTo>
                  <a:lnTo>
                    <a:pt x="311" y="1557"/>
                  </a:lnTo>
                  <a:lnTo>
                    <a:pt x="306" y="1466"/>
                  </a:lnTo>
                  <a:lnTo>
                    <a:pt x="315" y="1371"/>
                  </a:lnTo>
                  <a:lnTo>
                    <a:pt x="325" y="1323"/>
                  </a:lnTo>
                  <a:lnTo>
                    <a:pt x="338" y="1275"/>
                  </a:lnTo>
                  <a:lnTo>
                    <a:pt x="372" y="1186"/>
                  </a:lnTo>
                  <a:lnTo>
                    <a:pt x="412" y="1103"/>
                  </a:lnTo>
                  <a:lnTo>
                    <a:pt x="459" y="1029"/>
                  </a:lnTo>
                  <a:lnTo>
                    <a:pt x="510" y="962"/>
                  </a:lnTo>
                  <a:lnTo>
                    <a:pt x="566" y="901"/>
                  </a:lnTo>
                  <a:lnTo>
                    <a:pt x="652" y="821"/>
                  </a:lnTo>
                  <a:lnTo>
                    <a:pt x="764" y="738"/>
                  </a:lnTo>
                  <a:lnTo>
                    <a:pt x="867" y="678"/>
                  </a:lnTo>
                  <a:lnTo>
                    <a:pt x="978" y="626"/>
                  </a:lnTo>
                  <a:lnTo>
                    <a:pt x="995" y="621"/>
                  </a:lnTo>
                  <a:lnTo>
                    <a:pt x="968" y="0"/>
                  </a:lnTo>
                  <a:close/>
                </a:path>
              </a:pathLst>
            </a:custGeom>
            <a:solidFill>
              <a:srgbClr val="111B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22" name="Freeform 109">
              <a:extLst>
                <a:ext uri="{FF2B5EF4-FFF2-40B4-BE49-F238E27FC236}">
                  <a16:creationId xmlns:a16="http://schemas.microsoft.com/office/drawing/2014/main" id="{1091FE86-3A9B-2BEB-2E3C-BD044FCC31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0750" y="2605088"/>
              <a:ext cx="177800" cy="180975"/>
            </a:xfrm>
            <a:custGeom>
              <a:avLst/>
              <a:gdLst>
                <a:gd name="T0" fmla="*/ 93 w 451"/>
                <a:gd name="T1" fmla="*/ 255 h 457"/>
                <a:gd name="T2" fmla="*/ 48 w 451"/>
                <a:gd name="T3" fmla="*/ 304 h 457"/>
                <a:gd name="T4" fmla="*/ 0 w 451"/>
                <a:gd name="T5" fmla="*/ 356 h 457"/>
                <a:gd name="T6" fmla="*/ 27 w 451"/>
                <a:gd name="T7" fmla="*/ 379 h 457"/>
                <a:gd name="T8" fmla="*/ 81 w 451"/>
                <a:gd name="T9" fmla="*/ 434 h 457"/>
                <a:gd name="T10" fmla="*/ 107 w 451"/>
                <a:gd name="T11" fmla="*/ 457 h 457"/>
                <a:gd name="T12" fmla="*/ 146 w 451"/>
                <a:gd name="T13" fmla="*/ 423 h 457"/>
                <a:gd name="T14" fmla="*/ 207 w 451"/>
                <a:gd name="T15" fmla="*/ 373 h 457"/>
                <a:gd name="T16" fmla="*/ 240 w 451"/>
                <a:gd name="T17" fmla="*/ 360 h 457"/>
                <a:gd name="T18" fmla="*/ 262 w 451"/>
                <a:gd name="T19" fmla="*/ 356 h 457"/>
                <a:gd name="T20" fmla="*/ 273 w 451"/>
                <a:gd name="T21" fmla="*/ 357 h 457"/>
                <a:gd name="T22" fmla="*/ 281 w 451"/>
                <a:gd name="T23" fmla="*/ 360 h 457"/>
                <a:gd name="T24" fmla="*/ 307 w 451"/>
                <a:gd name="T25" fmla="*/ 356 h 457"/>
                <a:gd name="T26" fmla="*/ 347 w 451"/>
                <a:gd name="T27" fmla="*/ 339 h 457"/>
                <a:gd name="T28" fmla="*/ 407 w 451"/>
                <a:gd name="T29" fmla="*/ 304 h 457"/>
                <a:gd name="T30" fmla="*/ 444 w 451"/>
                <a:gd name="T31" fmla="*/ 277 h 457"/>
                <a:gd name="T32" fmla="*/ 451 w 451"/>
                <a:gd name="T33" fmla="*/ 245 h 457"/>
                <a:gd name="T34" fmla="*/ 448 w 451"/>
                <a:gd name="T35" fmla="*/ 169 h 457"/>
                <a:gd name="T36" fmla="*/ 433 w 451"/>
                <a:gd name="T37" fmla="*/ 92 h 457"/>
                <a:gd name="T38" fmla="*/ 411 w 451"/>
                <a:gd name="T39" fmla="*/ 28 h 457"/>
                <a:gd name="T40" fmla="*/ 399 w 451"/>
                <a:gd name="T41" fmla="*/ 9 h 457"/>
                <a:gd name="T42" fmla="*/ 395 w 451"/>
                <a:gd name="T43" fmla="*/ 3 h 457"/>
                <a:gd name="T44" fmla="*/ 377 w 451"/>
                <a:gd name="T45" fmla="*/ 0 h 457"/>
                <a:gd name="T46" fmla="*/ 335 w 451"/>
                <a:gd name="T47" fmla="*/ 5 h 457"/>
                <a:gd name="T48" fmla="*/ 271 w 451"/>
                <a:gd name="T49" fmla="*/ 28 h 457"/>
                <a:gd name="T50" fmla="*/ 218 w 451"/>
                <a:gd name="T51" fmla="*/ 55 h 457"/>
                <a:gd name="T52" fmla="*/ 207 w 451"/>
                <a:gd name="T53" fmla="*/ 68 h 457"/>
                <a:gd name="T54" fmla="*/ 93 w 451"/>
                <a:gd name="T55" fmla="*/ 255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51" h="457">
                  <a:moveTo>
                    <a:pt x="93" y="255"/>
                  </a:moveTo>
                  <a:lnTo>
                    <a:pt x="48" y="304"/>
                  </a:lnTo>
                  <a:lnTo>
                    <a:pt x="0" y="356"/>
                  </a:lnTo>
                  <a:lnTo>
                    <a:pt x="27" y="379"/>
                  </a:lnTo>
                  <a:lnTo>
                    <a:pt x="81" y="434"/>
                  </a:lnTo>
                  <a:lnTo>
                    <a:pt x="107" y="457"/>
                  </a:lnTo>
                  <a:lnTo>
                    <a:pt x="146" y="423"/>
                  </a:lnTo>
                  <a:lnTo>
                    <a:pt x="207" y="373"/>
                  </a:lnTo>
                  <a:lnTo>
                    <a:pt x="240" y="360"/>
                  </a:lnTo>
                  <a:lnTo>
                    <a:pt x="262" y="356"/>
                  </a:lnTo>
                  <a:lnTo>
                    <a:pt x="273" y="357"/>
                  </a:lnTo>
                  <a:lnTo>
                    <a:pt x="281" y="360"/>
                  </a:lnTo>
                  <a:lnTo>
                    <a:pt x="307" y="356"/>
                  </a:lnTo>
                  <a:lnTo>
                    <a:pt x="347" y="339"/>
                  </a:lnTo>
                  <a:lnTo>
                    <a:pt x="407" y="304"/>
                  </a:lnTo>
                  <a:lnTo>
                    <a:pt x="444" y="277"/>
                  </a:lnTo>
                  <a:lnTo>
                    <a:pt x="451" y="245"/>
                  </a:lnTo>
                  <a:lnTo>
                    <a:pt x="448" y="169"/>
                  </a:lnTo>
                  <a:lnTo>
                    <a:pt x="433" y="92"/>
                  </a:lnTo>
                  <a:lnTo>
                    <a:pt x="411" y="28"/>
                  </a:lnTo>
                  <a:lnTo>
                    <a:pt x="399" y="9"/>
                  </a:lnTo>
                  <a:lnTo>
                    <a:pt x="395" y="3"/>
                  </a:lnTo>
                  <a:lnTo>
                    <a:pt x="377" y="0"/>
                  </a:lnTo>
                  <a:lnTo>
                    <a:pt x="335" y="5"/>
                  </a:lnTo>
                  <a:lnTo>
                    <a:pt x="271" y="28"/>
                  </a:lnTo>
                  <a:lnTo>
                    <a:pt x="218" y="55"/>
                  </a:lnTo>
                  <a:lnTo>
                    <a:pt x="207" y="68"/>
                  </a:lnTo>
                  <a:lnTo>
                    <a:pt x="93" y="255"/>
                  </a:lnTo>
                  <a:close/>
                </a:path>
              </a:pathLst>
            </a:custGeom>
            <a:solidFill>
              <a:srgbClr val="D9AA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23" name="Freeform 110">
              <a:extLst>
                <a:ext uri="{FF2B5EF4-FFF2-40B4-BE49-F238E27FC236}">
                  <a16:creationId xmlns:a16="http://schemas.microsoft.com/office/drawing/2014/main" id="{666DF7E4-71EE-E7F9-E24D-AA5CFB75F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1388" y="2595563"/>
              <a:ext cx="112713" cy="139700"/>
            </a:xfrm>
            <a:custGeom>
              <a:avLst/>
              <a:gdLst>
                <a:gd name="T0" fmla="*/ 0 w 286"/>
                <a:gd name="T1" fmla="*/ 350 h 350"/>
                <a:gd name="T2" fmla="*/ 7 w 286"/>
                <a:gd name="T3" fmla="*/ 325 h 350"/>
                <a:gd name="T4" fmla="*/ 18 w 286"/>
                <a:gd name="T5" fmla="*/ 272 h 350"/>
                <a:gd name="T6" fmla="*/ 27 w 286"/>
                <a:gd name="T7" fmla="*/ 186 h 350"/>
                <a:gd name="T8" fmla="*/ 35 w 286"/>
                <a:gd name="T9" fmla="*/ 134 h 350"/>
                <a:gd name="T10" fmla="*/ 42 w 286"/>
                <a:gd name="T11" fmla="*/ 86 h 350"/>
                <a:gd name="T12" fmla="*/ 54 w 286"/>
                <a:gd name="T13" fmla="*/ 63 h 350"/>
                <a:gd name="T14" fmla="*/ 76 w 286"/>
                <a:gd name="T15" fmla="*/ 55 h 350"/>
                <a:gd name="T16" fmla="*/ 96 w 286"/>
                <a:gd name="T17" fmla="*/ 49 h 350"/>
                <a:gd name="T18" fmla="*/ 119 w 286"/>
                <a:gd name="T19" fmla="*/ 44 h 350"/>
                <a:gd name="T20" fmla="*/ 171 w 286"/>
                <a:gd name="T21" fmla="*/ 40 h 350"/>
                <a:gd name="T22" fmla="*/ 193 w 286"/>
                <a:gd name="T23" fmla="*/ 35 h 350"/>
                <a:gd name="T24" fmla="*/ 269 w 286"/>
                <a:gd name="T25" fmla="*/ 3 h 350"/>
                <a:gd name="T26" fmla="*/ 283 w 286"/>
                <a:gd name="T27" fmla="*/ 0 h 350"/>
                <a:gd name="T28" fmla="*/ 286 w 286"/>
                <a:gd name="T29" fmla="*/ 5 h 350"/>
                <a:gd name="T30" fmla="*/ 285 w 286"/>
                <a:gd name="T31" fmla="*/ 19 h 350"/>
                <a:gd name="T32" fmla="*/ 274 w 286"/>
                <a:gd name="T33" fmla="*/ 41 h 350"/>
                <a:gd name="T34" fmla="*/ 250 w 286"/>
                <a:gd name="T35" fmla="*/ 68 h 350"/>
                <a:gd name="T36" fmla="*/ 223 w 286"/>
                <a:gd name="T37" fmla="*/ 85 h 350"/>
                <a:gd name="T38" fmla="*/ 213 w 286"/>
                <a:gd name="T39" fmla="*/ 86 h 350"/>
                <a:gd name="T40" fmla="*/ 202 w 286"/>
                <a:gd name="T41" fmla="*/ 92 h 350"/>
                <a:gd name="T42" fmla="*/ 159 w 286"/>
                <a:gd name="T43" fmla="*/ 112 h 350"/>
                <a:gd name="T44" fmla="*/ 137 w 286"/>
                <a:gd name="T45" fmla="*/ 132 h 350"/>
                <a:gd name="T46" fmla="*/ 133 w 286"/>
                <a:gd name="T47" fmla="*/ 143 h 350"/>
                <a:gd name="T48" fmla="*/ 134 w 286"/>
                <a:gd name="T49" fmla="*/ 185 h 350"/>
                <a:gd name="T50" fmla="*/ 143 w 286"/>
                <a:gd name="T51" fmla="*/ 226 h 350"/>
                <a:gd name="T52" fmla="*/ 143 w 286"/>
                <a:gd name="T53" fmla="*/ 246 h 350"/>
                <a:gd name="T54" fmla="*/ 132 w 286"/>
                <a:gd name="T55" fmla="*/ 277 h 350"/>
                <a:gd name="T56" fmla="*/ 98 w 286"/>
                <a:gd name="T57" fmla="*/ 309 h 350"/>
                <a:gd name="T58" fmla="*/ 71 w 286"/>
                <a:gd name="T59" fmla="*/ 326 h 350"/>
                <a:gd name="T60" fmla="*/ 0 w 286"/>
                <a:gd name="T61" fmla="*/ 35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86" h="350">
                  <a:moveTo>
                    <a:pt x="0" y="350"/>
                  </a:moveTo>
                  <a:lnTo>
                    <a:pt x="7" y="325"/>
                  </a:lnTo>
                  <a:lnTo>
                    <a:pt x="18" y="272"/>
                  </a:lnTo>
                  <a:lnTo>
                    <a:pt x="27" y="186"/>
                  </a:lnTo>
                  <a:lnTo>
                    <a:pt x="35" y="134"/>
                  </a:lnTo>
                  <a:lnTo>
                    <a:pt x="42" y="86"/>
                  </a:lnTo>
                  <a:lnTo>
                    <a:pt x="54" y="63"/>
                  </a:lnTo>
                  <a:lnTo>
                    <a:pt x="76" y="55"/>
                  </a:lnTo>
                  <a:lnTo>
                    <a:pt x="96" y="49"/>
                  </a:lnTo>
                  <a:lnTo>
                    <a:pt x="119" y="44"/>
                  </a:lnTo>
                  <a:lnTo>
                    <a:pt x="171" y="40"/>
                  </a:lnTo>
                  <a:lnTo>
                    <a:pt x="193" y="35"/>
                  </a:lnTo>
                  <a:lnTo>
                    <a:pt x="269" y="3"/>
                  </a:lnTo>
                  <a:lnTo>
                    <a:pt x="283" y="0"/>
                  </a:lnTo>
                  <a:lnTo>
                    <a:pt x="286" y="5"/>
                  </a:lnTo>
                  <a:lnTo>
                    <a:pt x="285" y="19"/>
                  </a:lnTo>
                  <a:lnTo>
                    <a:pt x="274" y="41"/>
                  </a:lnTo>
                  <a:lnTo>
                    <a:pt x="250" y="68"/>
                  </a:lnTo>
                  <a:lnTo>
                    <a:pt x="223" y="85"/>
                  </a:lnTo>
                  <a:lnTo>
                    <a:pt x="213" y="86"/>
                  </a:lnTo>
                  <a:lnTo>
                    <a:pt x="202" y="92"/>
                  </a:lnTo>
                  <a:lnTo>
                    <a:pt x="159" y="112"/>
                  </a:lnTo>
                  <a:lnTo>
                    <a:pt x="137" y="132"/>
                  </a:lnTo>
                  <a:lnTo>
                    <a:pt x="133" y="143"/>
                  </a:lnTo>
                  <a:lnTo>
                    <a:pt x="134" y="185"/>
                  </a:lnTo>
                  <a:lnTo>
                    <a:pt x="143" y="226"/>
                  </a:lnTo>
                  <a:lnTo>
                    <a:pt x="143" y="246"/>
                  </a:lnTo>
                  <a:lnTo>
                    <a:pt x="132" y="277"/>
                  </a:lnTo>
                  <a:lnTo>
                    <a:pt x="98" y="309"/>
                  </a:lnTo>
                  <a:lnTo>
                    <a:pt x="71" y="326"/>
                  </a:lnTo>
                  <a:lnTo>
                    <a:pt x="0" y="350"/>
                  </a:lnTo>
                  <a:close/>
                </a:path>
              </a:pathLst>
            </a:custGeom>
            <a:solidFill>
              <a:srgbClr val="E0BB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24" name="Freeform 111">
              <a:extLst>
                <a:ext uri="{FF2B5EF4-FFF2-40B4-BE49-F238E27FC236}">
                  <a16:creationId xmlns:a16="http://schemas.microsoft.com/office/drawing/2014/main" id="{4840CA12-8522-A21F-1BFF-AB38697FE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888" y="2159000"/>
              <a:ext cx="615950" cy="503238"/>
            </a:xfrm>
            <a:custGeom>
              <a:avLst/>
              <a:gdLst>
                <a:gd name="T0" fmla="*/ 41 w 1549"/>
                <a:gd name="T1" fmla="*/ 1269 h 1269"/>
                <a:gd name="T2" fmla="*/ 0 w 1549"/>
                <a:gd name="T3" fmla="*/ 1218 h 1269"/>
                <a:gd name="T4" fmla="*/ 1529 w 1549"/>
                <a:gd name="T5" fmla="*/ 0 h 1269"/>
                <a:gd name="T6" fmla="*/ 1549 w 1549"/>
                <a:gd name="T7" fmla="*/ 26 h 1269"/>
                <a:gd name="T8" fmla="*/ 41 w 1549"/>
                <a:gd name="T9" fmla="*/ 1269 h 1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9" h="1269">
                  <a:moveTo>
                    <a:pt x="41" y="1269"/>
                  </a:moveTo>
                  <a:lnTo>
                    <a:pt x="0" y="1218"/>
                  </a:lnTo>
                  <a:lnTo>
                    <a:pt x="1529" y="0"/>
                  </a:lnTo>
                  <a:lnTo>
                    <a:pt x="1549" y="26"/>
                  </a:lnTo>
                  <a:lnTo>
                    <a:pt x="41" y="126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25" name="Freeform 112">
              <a:extLst>
                <a:ext uri="{FF2B5EF4-FFF2-40B4-BE49-F238E27FC236}">
                  <a16:creationId xmlns:a16="http://schemas.microsoft.com/office/drawing/2014/main" id="{1542984A-93F5-B885-4C8E-D7389445D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1400" y="2605088"/>
              <a:ext cx="57150" cy="133350"/>
            </a:xfrm>
            <a:custGeom>
              <a:avLst/>
              <a:gdLst>
                <a:gd name="T0" fmla="*/ 92 w 144"/>
                <a:gd name="T1" fmla="*/ 9 h 334"/>
                <a:gd name="T2" fmla="*/ 87 w 144"/>
                <a:gd name="T3" fmla="*/ 2 h 334"/>
                <a:gd name="T4" fmla="*/ 61 w 144"/>
                <a:gd name="T5" fmla="*/ 0 h 334"/>
                <a:gd name="T6" fmla="*/ 44 w 144"/>
                <a:gd name="T7" fmla="*/ 2 h 334"/>
                <a:gd name="T8" fmla="*/ 28 w 144"/>
                <a:gd name="T9" fmla="*/ 15 h 334"/>
                <a:gd name="T10" fmla="*/ 9 w 144"/>
                <a:gd name="T11" fmla="*/ 46 h 334"/>
                <a:gd name="T12" fmla="*/ 1 w 144"/>
                <a:gd name="T13" fmla="*/ 81 h 334"/>
                <a:gd name="T14" fmla="*/ 0 w 144"/>
                <a:gd name="T15" fmla="*/ 121 h 334"/>
                <a:gd name="T16" fmla="*/ 8 w 144"/>
                <a:gd name="T17" fmla="*/ 185 h 334"/>
                <a:gd name="T18" fmla="*/ 22 w 144"/>
                <a:gd name="T19" fmla="*/ 268 h 334"/>
                <a:gd name="T20" fmla="*/ 25 w 144"/>
                <a:gd name="T21" fmla="*/ 305 h 334"/>
                <a:gd name="T22" fmla="*/ 26 w 144"/>
                <a:gd name="T23" fmla="*/ 317 h 334"/>
                <a:gd name="T24" fmla="*/ 40 w 144"/>
                <a:gd name="T25" fmla="*/ 330 h 334"/>
                <a:gd name="T26" fmla="*/ 51 w 144"/>
                <a:gd name="T27" fmla="*/ 334 h 334"/>
                <a:gd name="T28" fmla="*/ 88 w 144"/>
                <a:gd name="T29" fmla="*/ 312 h 334"/>
                <a:gd name="T30" fmla="*/ 137 w 144"/>
                <a:gd name="T31" fmla="*/ 277 h 334"/>
                <a:gd name="T32" fmla="*/ 144 w 144"/>
                <a:gd name="T33" fmla="*/ 245 h 334"/>
                <a:gd name="T34" fmla="*/ 141 w 144"/>
                <a:gd name="T35" fmla="*/ 169 h 334"/>
                <a:gd name="T36" fmla="*/ 126 w 144"/>
                <a:gd name="T37" fmla="*/ 92 h 334"/>
                <a:gd name="T38" fmla="*/ 104 w 144"/>
                <a:gd name="T39" fmla="*/ 28 h 334"/>
                <a:gd name="T40" fmla="*/ 92 w 144"/>
                <a:gd name="T41" fmla="*/ 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4" h="334">
                  <a:moveTo>
                    <a:pt x="92" y="9"/>
                  </a:moveTo>
                  <a:lnTo>
                    <a:pt x="87" y="2"/>
                  </a:lnTo>
                  <a:lnTo>
                    <a:pt x="61" y="0"/>
                  </a:lnTo>
                  <a:lnTo>
                    <a:pt x="44" y="2"/>
                  </a:lnTo>
                  <a:lnTo>
                    <a:pt x="28" y="15"/>
                  </a:lnTo>
                  <a:lnTo>
                    <a:pt x="9" y="46"/>
                  </a:lnTo>
                  <a:lnTo>
                    <a:pt x="1" y="81"/>
                  </a:lnTo>
                  <a:lnTo>
                    <a:pt x="0" y="121"/>
                  </a:lnTo>
                  <a:lnTo>
                    <a:pt x="8" y="185"/>
                  </a:lnTo>
                  <a:lnTo>
                    <a:pt x="22" y="268"/>
                  </a:lnTo>
                  <a:lnTo>
                    <a:pt x="25" y="305"/>
                  </a:lnTo>
                  <a:lnTo>
                    <a:pt x="26" y="317"/>
                  </a:lnTo>
                  <a:lnTo>
                    <a:pt x="40" y="330"/>
                  </a:lnTo>
                  <a:lnTo>
                    <a:pt x="51" y="334"/>
                  </a:lnTo>
                  <a:lnTo>
                    <a:pt x="88" y="312"/>
                  </a:lnTo>
                  <a:lnTo>
                    <a:pt x="137" y="277"/>
                  </a:lnTo>
                  <a:lnTo>
                    <a:pt x="144" y="245"/>
                  </a:lnTo>
                  <a:lnTo>
                    <a:pt x="141" y="169"/>
                  </a:lnTo>
                  <a:lnTo>
                    <a:pt x="126" y="92"/>
                  </a:lnTo>
                  <a:lnTo>
                    <a:pt x="104" y="28"/>
                  </a:lnTo>
                  <a:lnTo>
                    <a:pt x="92" y="9"/>
                  </a:lnTo>
                  <a:close/>
                </a:path>
              </a:pathLst>
            </a:custGeom>
            <a:solidFill>
              <a:srgbClr val="DDB3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26" name="Freeform 113">
              <a:extLst>
                <a:ext uri="{FF2B5EF4-FFF2-40B4-BE49-F238E27FC236}">
                  <a16:creationId xmlns:a16="http://schemas.microsoft.com/office/drawing/2014/main" id="{140F1C21-375A-D120-5B52-AE5156026C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3763" y="2698750"/>
              <a:ext cx="111125" cy="122238"/>
            </a:xfrm>
            <a:custGeom>
              <a:avLst/>
              <a:gdLst>
                <a:gd name="T0" fmla="*/ 0 w 281"/>
                <a:gd name="T1" fmla="*/ 146 h 308"/>
                <a:gd name="T2" fmla="*/ 135 w 281"/>
                <a:gd name="T3" fmla="*/ 0 h 308"/>
                <a:gd name="T4" fmla="*/ 281 w 281"/>
                <a:gd name="T5" fmla="*/ 157 h 308"/>
                <a:gd name="T6" fmla="*/ 135 w 281"/>
                <a:gd name="T7" fmla="*/ 308 h 308"/>
                <a:gd name="T8" fmla="*/ 0 w 281"/>
                <a:gd name="T9" fmla="*/ 146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1" h="308">
                  <a:moveTo>
                    <a:pt x="0" y="146"/>
                  </a:moveTo>
                  <a:lnTo>
                    <a:pt x="135" y="0"/>
                  </a:lnTo>
                  <a:lnTo>
                    <a:pt x="281" y="157"/>
                  </a:lnTo>
                  <a:lnTo>
                    <a:pt x="135" y="308"/>
                  </a:lnTo>
                  <a:lnTo>
                    <a:pt x="0" y="146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27" name="Freeform 114">
              <a:extLst>
                <a:ext uri="{FF2B5EF4-FFF2-40B4-BE49-F238E27FC236}">
                  <a16:creationId xmlns:a16="http://schemas.microsoft.com/office/drawing/2014/main" id="{403B4229-74F4-F167-D891-84D30A2B82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900" y="2619375"/>
              <a:ext cx="766763" cy="450850"/>
            </a:xfrm>
            <a:custGeom>
              <a:avLst/>
              <a:gdLst>
                <a:gd name="T0" fmla="*/ 11 w 1933"/>
                <a:gd name="T1" fmla="*/ 0 h 1138"/>
                <a:gd name="T2" fmla="*/ 24 w 1933"/>
                <a:gd name="T3" fmla="*/ 16 h 1138"/>
                <a:gd name="T4" fmla="*/ 122 w 1933"/>
                <a:gd name="T5" fmla="*/ 129 h 1138"/>
                <a:gd name="T6" fmla="*/ 223 w 1933"/>
                <a:gd name="T7" fmla="*/ 233 h 1138"/>
                <a:gd name="T8" fmla="*/ 348 w 1933"/>
                <a:gd name="T9" fmla="*/ 350 h 1138"/>
                <a:gd name="T10" fmla="*/ 493 w 1933"/>
                <a:gd name="T11" fmla="*/ 469 h 1138"/>
                <a:gd name="T12" fmla="*/ 655 w 1933"/>
                <a:gd name="T13" fmla="*/ 579 h 1138"/>
                <a:gd name="T14" fmla="*/ 785 w 1933"/>
                <a:gd name="T15" fmla="*/ 648 h 1138"/>
                <a:gd name="T16" fmla="*/ 873 w 1933"/>
                <a:gd name="T17" fmla="*/ 687 h 1138"/>
                <a:gd name="T18" fmla="*/ 918 w 1933"/>
                <a:gd name="T19" fmla="*/ 702 h 1138"/>
                <a:gd name="T20" fmla="*/ 949 w 1933"/>
                <a:gd name="T21" fmla="*/ 711 h 1138"/>
                <a:gd name="T22" fmla="*/ 1014 w 1933"/>
                <a:gd name="T23" fmla="*/ 716 h 1138"/>
                <a:gd name="T24" fmla="*/ 1081 w 1933"/>
                <a:gd name="T25" fmla="*/ 710 h 1138"/>
                <a:gd name="T26" fmla="*/ 1151 w 1933"/>
                <a:gd name="T27" fmla="*/ 690 h 1138"/>
                <a:gd name="T28" fmla="*/ 1221 w 1933"/>
                <a:gd name="T29" fmla="*/ 662 h 1138"/>
                <a:gd name="T30" fmla="*/ 1293 w 1933"/>
                <a:gd name="T31" fmla="*/ 627 h 1138"/>
                <a:gd name="T32" fmla="*/ 1396 w 1933"/>
                <a:gd name="T33" fmla="*/ 563 h 1138"/>
                <a:gd name="T34" fmla="*/ 1523 w 1933"/>
                <a:gd name="T35" fmla="*/ 469 h 1138"/>
                <a:gd name="T36" fmla="*/ 1631 w 1933"/>
                <a:gd name="T37" fmla="*/ 375 h 1138"/>
                <a:gd name="T38" fmla="*/ 1744 w 1933"/>
                <a:gd name="T39" fmla="*/ 267 h 1138"/>
                <a:gd name="T40" fmla="*/ 1761 w 1933"/>
                <a:gd name="T41" fmla="*/ 248 h 1138"/>
                <a:gd name="T42" fmla="*/ 1933 w 1933"/>
                <a:gd name="T43" fmla="*/ 443 h 1138"/>
                <a:gd name="T44" fmla="*/ 1915 w 1933"/>
                <a:gd name="T45" fmla="*/ 466 h 1138"/>
                <a:gd name="T46" fmla="*/ 1785 w 1933"/>
                <a:gd name="T47" fmla="*/ 611 h 1138"/>
                <a:gd name="T48" fmla="*/ 1657 w 1933"/>
                <a:gd name="T49" fmla="*/ 738 h 1138"/>
                <a:gd name="T50" fmla="*/ 1504 w 1933"/>
                <a:gd name="T51" fmla="*/ 872 h 1138"/>
                <a:gd name="T52" fmla="*/ 1376 w 1933"/>
                <a:gd name="T53" fmla="*/ 965 h 1138"/>
                <a:gd name="T54" fmla="*/ 1286 w 1933"/>
                <a:gd name="T55" fmla="*/ 1021 h 1138"/>
                <a:gd name="T56" fmla="*/ 1195 w 1933"/>
                <a:gd name="T57" fmla="*/ 1068 h 1138"/>
                <a:gd name="T58" fmla="*/ 1103 w 1933"/>
                <a:gd name="T59" fmla="*/ 1104 h 1138"/>
                <a:gd name="T60" fmla="*/ 1011 w 1933"/>
                <a:gd name="T61" fmla="*/ 1129 h 1138"/>
                <a:gd name="T62" fmla="*/ 919 w 1933"/>
                <a:gd name="T63" fmla="*/ 1138 h 1138"/>
                <a:gd name="T64" fmla="*/ 875 w 1933"/>
                <a:gd name="T65" fmla="*/ 1135 h 1138"/>
                <a:gd name="T66" fmla="*/ 830 w 1933"/>
                <a:gd name="T67" fmla="*/ 1130 h 1138"/>
                <a:gd name="T68" fmla="*/ 743 w 1933"/>
                <a:gd name="T69" fmla="*/ 1113 h 1138"/>
                <a:gd name="T70" fmla="*/ 659 w 1933"/>
                <a:gd name="T71" fmla="*/ 1087 h 1138"/>
                <a:gd name="T72" fmla="*/ 577 w 1933"/>
                <a:gd name="T73" fmla="*/ 1055 h 1138"/>
                <a:gd name="T74" fmla="*/ 461 w 1933"/>
                <a:gd name="T75" fmla="*/ 998 h 1138"/>
                <a:gd name="T76" fmla="*/ 321 w 1933"/>
                <a:gd name="T77" fmla="*/ 911 h 1138"/>
                <a:gd name="T78" fmla="*/ 201 w 1933"/>
                <a:gd name="T79" fmla="*/ 819 h 1138"/>
                <a:gd name="T80" fmla="*/ 105 w 1933"/>
                <a:gd name="T81" fmla="*/ 736 h 1138"/>
                <a:gd name="T82" fmla="*/ 12 w 1933"/>
                <a:gd name="T83" fmla="*/ 641 h 1138"/>
                <a:gd name="T84" fmla="*/ 0 w 1933"/>
                <a:gd name="T85" fmla="*/ 627 h 1138"/>
                <a:gd name="T86" fmla="*/ 11 w 1933"/>
                <a:gd name="T87" fmla="*/ 0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33" h="1138">
                  <a:moveTo>
                    <a:pt x="11" y="0"/>
                  </a:moveTo>
                  <a:lnTo>
                    <a:pt x="24" y="16"/>
                  </a:lnTo>
                  <a:lnTo>
                    <a:pt x="122" y="129"/>
                  </a:lnTo>
                  <a:lnTo>
                    <a:pt x="223" y="233"/>
                  </a:lnTo>
                  <a:lnTo>
                    <a:pt x="348" y="350"/>
                  </a:lnTo>
                  <a:lnTo>
                    <a:pt x="493" y="469"/>
                  </a:lnTo>
                  <a:lnTo>
                    <a:pt x="655" y="579"/>
                  </a:lnTo>
                  <a:lnTo>
                    <a:pt x="785" y="648"/>
                  </a:lnTo>
                  <a:lnTo>
                    <a:pt x="873" y="687"/>
                  </a:lnTo>
                  <a:lnTo>
                    <a:pt x="918" y="702"/>
                  </a:lnTo>
                  <a:lnTo>
                    <a:pt x="949" y="711"/>
                  </a:lnTo>
                  <a:lnTo>
                    <a:pt x="1014" y="716"/>
                  </a:lnTo>
                  <a:lnTo>
                    <a:pt x="1081" y="710"/>
                  </a:lnTo>
                  <a:lnTo>
                    <a:pt x="1151" y="690"/>
                  </a:lnTo>
                  <a:lnTo>
                    <a:pt x="1221" y="662"/>
                  </a:lnTo>
                  <a:lnTo>
                    <a:pt x="1293" y="627"/>
                  </a:lnTo>
                  <a:lnTo>
                    <a:pt x="1396" y="563"/>
                  </a:lnTo>
                  <a:lnTo>
                    <a:pt x="1523" y="469"/>
                  </a:lnTo>
                  <a:lnTo>
                    <a:pt x="1631" y="375"/>
                  </a:lnTo>
                  <a:lnTo>
                    <a:pt x="1744" y="267"/>
                  </a:lnTo>
                  <a:lnTo>
                    <a:pt x="1761" y="248"/>
                  </a:lnTo>
                  <a:lnTo>
                    <a:pt x="1933" y="443"/>
                  </a:lnTo>
                  <a:lnTo>
                    <a:pt x="1915" y="466"/>
                  </a:lnTo>
                  <a:lnTo>
                    <a:pt x="1785" y="611"/>
                  </a:lnTo>
                  <a:lnTo>
                    <a:pt x="1657" y="738"/>
                  </a:lnTo>
                  <a:lnTo>
                    <a:pt x="1504" y="872"/>
                  </a:lnTo>
                  <a:lnTo>
                    <a:pt x="1376" y="965"/>
                  </a:lnTo>
                  <a:lnTo>
                    <a:pt x="1286" y="1021"/>
                  </a:lnTo>
                  <a:lnTo>
                    <a:pt x="1195" y="1068"/>
                  </a:lnTo>
                  <a:lnTo>
                    <a:pt x="1103" y="1104"/>
                  </a:lnTo>
                  <a:lnTo>
                    <a:pt x="1011" y="1129"/>
                  </a:lnTo>
                  <a:lnTo>
                    <a:pt x="919" y="1138"/>
                  </a:lnTo>
                  <a:lnTo>
                    <a:pt x="875" y="1135"/>
                  </a:lnTo>
                  <a:lnTo>
                    <a:pt x="830" y="1130"/>
                  </a:lnTo>
                  <a:lnTo>
                    <a:pt x="743" y="1113"/>
                  </a:lnTo>
                  <a:lnTo>
                    <a:pt x="659" y="1087"/>
                  </a:lnTo>
                  <a:lnTo>
                    <a:pt x="577" y="1055"/>
                  </a:lnTo>
                  <a:lnTo>
                    <a:pt x="461" y="998"/>
                  </a:lnTo>
                  <a:lnTo>
                    <a:pt x="321" y="911"/>
                  </a:lnTo>
                  <a:lnTo>
                    <a:pt x="201" y="819"/>
                  </a:lnTo>
                  <a:lnTo>
                    <a:pt x="105" y="736"/>
                  </a:lnTo>
                  <a:lnTo>
                    <a:pt x="12" y="641"/>
                  </a:lnTo>
                  <a:lnTo>
                    <a:pt x="0" y="627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111B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28" name="Freeform 115">
              <a:extLst>
                <a:ext uri="{FF2B5EF4-FFF2-40B4-BE49-F238E27FC236}">
                  <a16:creationId xmlns:a16="http://schemas.microsoft.com/office/drawing/2014/main" id="{269C137D-ADCD-E596-531A-1FF12ACBC4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1063" y="1746250"/>
              <a:ext cx="490538" cy="657225"/>
            </a:xfrm>
            <a:custGeom>
              <a:avLst/>
              <a:gdLst>
                <a:gd name="T0" fmla="*/ 1222 w 1238"/>
                <a:gd name="T1" fmla="*/ 695 h 1657"/>
                <a:gd name="T2" fmla="*/ 1191 w 1238"/>
                <a:gd name="T3" fmla="*/ 657 h 1657"/>
                <a:gd name="T4" fmla="*/ 1160 w 1238"/>
                <a:gd name="T5" fmla="*/ 656 h 1657"/>
                <a:gd name="T6" fmla="*/ 1160 w 1238"/>
                <a:gd name="T7" fmla="*/ 634 h 1657"/>
                <a:gd name="T8" fmla="*/ 1137 w 1238"/>
                <a:gd name="T9" fmla="*/ 404 h 1657"/>
                <a:gd name="T10" fmla="*/ 1084 w 1238"/>
                <a:gd name="T11" fmla="*/ 258 h 1657"/>
                <a:gd name="T12" fmla="*/ 1021 w 1238"/>
                <a:gd name="T13" fmla="*/ 166 h 1657"/>
                <a:gd name="T14" fmla="*/ 881 w 1238"/>
                <a:gd name="T15" fmla="*/ 55 h 1657"/>
                <a:gd name="T16" fmla="*/ 682 w 1238"/>
                <a:gd name="T17" fmla="*/ 3 h 1657"/>
                <a:gd name="T18" fmla="*/ 573 w 1238"/>
                <a:gd name="T19" fmla="*/ 3 h 1657"/>
                <a:gd name="T20" fmla="*/ 373 w 1238"/>
                <a:gd name="T21" fmla="*/ 55 h 1657"/>
                <a:gd name="T22" fmla="*/ 233 w 1238"/>
                <a:gd name="T23" fmla="*/ 166 h 1657"/>
                <a:gd name="T24" fmla="*/ 171 w 1238"/>
                <a:gd name="T25" fmla="*/ 258 h 1657"/>
                <a:gd name="T26" fmla="*/ 118 w 1238"/>
                <a:gd name="T27" fmla="*/ 404 h 1657"/>
                <a:gd name="T28" fmla="*/ 95 w 1238"/>
                <a:gd name="T29" fmla="*/ 634 h 1657"/>
                <a:gd name="T30" fmla="*/ 95 w 1238"/>
                <a:gd name="T31" fmla="*/ 670 h 1657"/>
                <a:gd name="T32" fmla="*/ 57 w 1238"/>
                <a:gd name="T33" fmla="*/ 653 h 1657"/>
                <a:gd name="T34" fmla="*/ 16 w 1238"/>
                <a:gd name="T35" fmla="*/ 692 h 1657"/>
                <a:gd name="T36" fmla="*/ 4 w 1238"/>
                <a:gd name="T37" fmla="*/ 727 h 1657"/>
                <a:gd name="T38" fmla="*/ 8 w 1238"/>
                <a:gd name="T39" fmla="*/ 835 h 1657"/>
                <a:gd name="T40" fmla="*/ 27 w 1238"/>
                <a:gd name="T41" fmla="*/ 906 h 1657"/>
                <a:gd name="T42" fmla="*/ 74 w 1238"/>
                <a:gd name="T43" fmla="*/ 972 h 1657"/>
                <a:gd name="T44" fmla="*/ 99 w 1238"/>
                <a:gd name="T45" fmla="*/ 983 h 1657"/>
                <a:gd name="T46" fmla="*/ 135 w 1238"/>
                <a:gd name="T47" fmla="*/ 983 h 1657"/>
                <a:gd name="T48" fmla="*/ 192 w 1238"/>
                <a:gd name="T49" fmla="*/ 1177 h 1657"/>
                <a:gd name="T50" fmla="*/ 297 w 1238"/>
                <a:gd name="T51" fmla="*/ 1404 h 1657"/>
                <a:gd name="T52" fmla="*/ 432 w 1238"/>
                <a:gd name="T53" fmla="*/ 1572 h 1657"/>
                <a:gd name="T54" fmla="*/ 567 w 1238"/>
                <a:gd name="T55" fmla="*/ 1649 h 1657"/>
                <a:gd name="T56" fmla="*/ 627 w 1238"/>
                <a:gd name="T57" fmla="*/ 1657 h 1657"/>
                <a:gd name="T58" fmla="*/ 688 w 1238"/>
                <a:gd name="T59" fmla="*/ 1649 h 1657"/>
                <a:gd name="T60" fmla="*/ 823 w 1238"/>
                <a:gd name="T61" fmla="*/ 1572 h 1657"/>
                <a:gd name="T62" fmla="*/ 957 w 1238"/>
                <a:gd name="T63" fmla="*/ 1405 h 1657"/>
                <a:gd name="T64" fmla="*/ 1063 w 1238"/>
                <a:gd name="T65" fmla="*/ 1178 h 1657"/>
                <a:gd name="T66" fmla="*/ 1119 w 1238"/>
                <a:gd name="T67" fmla="*/ 985 h 1657"/>
                <a:gd name="T68" fmla="*/ 1150 w 1238"/>
                <a:gd name="T69" fmla="*/ 979 h 1657"/>
                <a:gd name="T70" fmla="*/ 1186 w 1238"/>
                <a:gd name="T71" fmla="*/ 949 h 1657"/>
                <a:gd name="T72" fmla="*/ 1218 w 1238"/>
                <a:gd name="T73" fmla="*/ 876 h 1657"/>
                <a:gd name="T74" fmla="*/ 1238 w 1238"/>
                <a:gd name="T75" fmla="*/ 770 h 1657"/>
                <a:gd name="T76" fmla="*/ 1228 w 1238"/>
                <a:gd name="T77" fmla="*/ 706 h 1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38" h="1657">
                  <a:moveTo>
                    <a:pt x="1228" y="706"/>
                  </a:moveTo>
                  <a:lnTo>
                    <a:pt x="1222" y="695"/>
                  </a:lnTo>
                  <a:lnTo>
                    <a:pt x="1208" y="673"/>
                  </a:lnTo>
                  <a:lnTo>
                    <a:pt x="1191" y="657"/>
                  </a:lnTo>
                  <a:lnTo>
                    <a:pt x="1171" y="652"/>
                  </a:lnTo>
                  <a:lnTo>
                    <a:pt x="1160" y="656"/>
                  </a:lnTo>
                  <a:lnTo>
                    <a:pt x="1160" y="646"/>
                  </a:lnTo>
                  <a:lnTo>
                    <a:pt x="1160" y="634"/>
                  </a:lnTo>
                  <a:lnTo>
                    <a:pt x="1159" y="551"/>
                  </a:lnTo>
                  <a:lnTo>
                    <a:pt x="1137" y="404"/>
                  </a:lnTo>
                  <a:lnTo>
                    <a:pt x="1108" y="312"/>
                  </a:lnTo>
                  <a:lnTo>
                    <a:pt x="1084" y="258"/>
                  </a:lnTo>
                  <a:lnTo>
                    <a:pt x="1055" y="209"/>
                  </a:lnTo>
                  <a:lnTo>
                    <a:pt x="1021" y="166"/>
                  </a:lnTo>
                  <a:lnTo>
                    <a:pt x="967" y="110"/>
                  </a:lnTo>
                  <a:lnTo>
                    <a:pt x="881" y="55"/>
                  </a:lnTo>
                  <a:lnTo>
                    <a:pt x="787" y="20"/>
                  </a:lnTo>
                  <a:lnTo>
                    <a:pt x="682" y="3"/>
                  </a:lnTo>
                  <a:lnTo>
                    <a:pt x="627" y="0"/>
                  </a:lnTo>
                  <a:lnTo>
                    <a:pt x="573" y="3"/>
                  </a:lnTo>
                  <a:lnTo>
                    <a:pt x="468" y="20"/>
                  </a:lnTo>
                  <a:lnTo>
                    <a:pt x="373" y="55"/>
                  </a:lnTo>
                  <a:lnTo>
                    <a:pt x="288" y="110"/>
                  </a:lnTo>
                  <a:lnTo>
                    <a:pt x="233" y="166"/>
                  </a:lnTo>
                  <a:lnTo>
                    <a:pt x="200" y="209"/>
                  </a:lnTo>
                  <a:lnTo>
                    <a:pt x="171" y="258"/>
                  </a:lnTo>
                  <a:lnTo>
                    <a:pt x="147" y="312"/>
                  </a:lnTo>
                  <a:lnTo>
                    <a:pt x="118" y="404"/>
                  </a:lnTo>
                  <a:lnTo>
                    <a:pt x="96" y="551"/>
                  </a:lnTo>
                  <a:lnTo>
                    <a:pt x="95" y="634"/>
                  </a:lnTo>
                  <a:lnTo>
                    <a:pt x="95" y="652"/>
                  </a:lnTo>
                  <a:lnTo>
                    <a:pt x="95" y="670"/>
                  </a:lnTo>
                  <a:lnTo>
                    <a:pt x="82" y="657"/>
                  </a:lnTo>
                  <a:lnTo>
                    <a:pt x="57" y="653"/>
                  </a:lnTo>
                  <a:lnTo>
                    <a:pt x="34" y="666"/>
                  </a:lnTo>
                  <a:lnTo>
                    <a:pt x="16" y="692"/>
                  </a:lnTo>
                  <a:lnTo>
                    <a:pt x="10" y="706"/>
                  </a:lnTo>
                  <a:lnTo>
                    <a:pt x="4" y="727"/>
                  </a:lnTo>
                  <a:lnTo>
                    <a:pt x="0" y="770"/>
                  </a:lnTo>
                  <a:lnTo>
                    <a:pt x="8" y="835"/>
                  </a:lnTo>
                  <a:lnTo>
                    <a:pt x="18" y="876"/>
                  </a:lnTo>
                  <a:lnTo>
                    <a:pt x="27" y="906"/>
                  </a:lnTo>
                  <a:lnTo>
                    <a:pt x="51" y="949"/>
                  </a:lnTo>
                  <a:lnTo>
                    <a:pt x="74" y="972"/>
                  </a:lnTo>
                  <a:lnTo>
                    <a:pt x="87" y="979"/>
                  </a:lnTo>
                  <a:lnTo>
                    <a:pt x="99" y="983"/>
                  </a:lnTo>
                  <a:lnTo>
                    <a:pt x="125" y="985"/>
                  </a:lnTo>
                  <a:lnTo>
                    <a:pt x="135" y="983"/>
                  </a:lnTo>
                  <a:lnTo>
                    <a:pt x="152" y="1049"/>
                  </a:lnTo>
                  <a:lnTo>
                    <a:pt x="192" y="1177"/>
                  </a:lnTo>
                  <a:lnTo>
                    <a:pt x="240" y="1296"/>
                  </a:lnTo>
                  <a:lnTo>
                    <a:pt x="297" y="1404"/>
                  </a:lnTo>
                  <a:lnTo>
                    <a:pt x="360" y="1497"/>
                  </a:lnTo>
                  <a:lnTo>
                    <a:pt x="432" y="1572"/>
                  </a:lnTo>
                  <a:lnTo>
                    <a:pt x="507" y="1625"/>
                  </a:lnTo>
                  <a:lnTo>
                    <a:pt x="567" y="1649"/>
                  </a:lnTo>
                  <a:lnTo>
                    <a:pt x="607" y="1657"/>
                  </a:lnTo>
                  <a:lnTo>
                    <a:pt x="627" y="1657"/>
                  </a:lnTo>
                  <a:lnTo>
                    <a:pt x="648" y="1657"/>
                  </a:lnTo>
                  <a:lnTo>
                    <a:pt x="688" y="1649"/>
                  </a:lnTo>
                  <a:lnTo>
                    <a:pt x="748" y="1627"/>
                  </a:lnTo>
                  <a:lnTo>
                    <a:pt x="823" y="1572"/>
                  </a:lnTo>
                  <a:lnTo>
                    <a:pt x="893" y="1498"/>
                  </a:lnTo>
                  <a:lnTo>
                    <a:pt x="957" y="1405"/>
                  </a:lnTo>
                  <a:lnTo>
                    <a:pt x="1014" y="1297"/>
                  </a:lnTo>
                  <a:lnTo>
                    <a:pt x="1063" y="1178"/>
                  </a:lnTo>
                  <a:lnTo>
                    <a:pt x="1103" y="1051"/>
                  </a:lnTo>
                  <a:lnTo>
                    <a:pt x="1119" y="985"/>
                  </a:lnTo>
                  <a:lnTo>
                    <a:pt x="1136" y="984"/>
                  </a:lnTo>
                  <a:lnTo>
                    <a:pt x="1150" y="979"/>
                  </a:lnTo>
                  <a:lnTo>
                    <a:pt x="1164" y="972"/>
                  </a:lnTo>
                  <a:lnTo>
                    <a:pt x="1186" y="949"/>
                  </a:lnTo>
                  <a:lnTo>
                    <a:pt x="1209" y="906"/>
                  </a:lnTo>
                  <a:lnTo>
                    <a:pt x="1218" y="876"/>
                  </a:lnTo>
                  <a:lnTo>
                    <a:pt x="1230" y="835"/>
                  </a:lnTo>
                  <a:lnTo>
                    <a:pt x="1238" y="770"/>
                  </a:lnTo>
                  <a:lnTo>
                    <a:pt x="1233" y="727"/>
                  </a:lnTo>
                  <a:lnTo>
                    <a:pt x="1228" y="706"/>
                  </a:lnTo>
                  <a:close/>
                </a:path>
              </a:pathLst>
            </a:custGeom>
            <a:solidFill>
              <a:srgbClr val="E0BB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29" name="Freeform 116">
              <a:extLst>
                <a:ext uri="{FF2B5EF4-FFF2-40B4-BE49-F238E27FC236}">
                  <a16:creationId xmlns:a16="http://schemas.microsoft.com/office/drawing/2014/main" id="{AEA048D3-043D-6606-A17E-906C3C3E5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3300" y="1682750"/>
              <a:ext cx="373063" cy="363538"/>
            </a:xfrm>
            <a:custGeom>
              <a:avLst/>
              <a:gdLst>
                <a:gd name="T0" fmla="*/ 69 w 940"/>
                <a:gd name="T1" fmla="*/ 411 h 915"/>
                <a:gd name="T2" fmla="*/ 78 w 940"/>
                <a:gd name="T3" fmla="*/ 435 h 915"/>
                <a:gd name="T4" fmla="*/ 107 w 940"/>
                <a:gd name="T5" fmla="*/ 473 h 915"/>
                <a:gd name="T6" fmla="*/ 149 w 940"/>
                <a:gd name="T7" fmla="*/ 497 h 915"/>
                <a:gd name="T8" fmla="*/ 200 w 940"/>
                <a:gd name="T9" fmla="*/ 512 h 915"/>
                <a:gd name="T10" fmla="*/ 288 w 940"/>
                <a:gd name="T11" fmla="*/ 519 h 915"/>
                <a:gd name="T12" fmla="*/ 420 w 940"/>
                <a:gd name="T13" fmla="*/ 518 h 915"/>
                <a:gd name="T14" fmla="*/ 524 w 940"/>
                <a:gd name="T15" fmla="*/ 521 h 915"/>
                <a:gd name="T16" fmla="*/ 590 w 940"/>
                <a:gd name="T17" fmla="*/ 530 h 915"/>
                <a:gd name="T18" fmla="*/ 652 w 940"/>
                <a:gd name="T19" fmla="*/ 548 h 915"/>
                <a:gd name="T20" fmla="*/ 709 w 940"/>
                <a:gd name="T21" fmla="*/ 576 h 915"/>
                <a:gd name="T22" fmla="*/ 758 w 940"/>
                <a:gd name="T23" fmla="*/ 618 h 915"/>
                <a:gd name="T24" fmla="*/ 798 w 940"/>
                <a:gd name="T25" fmla="*/ 678 h 915"/>
                <a:gd name="T26" fmla="*/ 827 w 940"/>
                <a:gd name="T27" fmla="*/ 755 h 915"/>
                <a:gd name="T28" fmla="*/ 844 w 940"/>
                <a:gd name="T29" fmla="*/ 855 h 915"/>
                <a:gd name="T30" fmla="*/ 845 w 940"/>
                <a:gd name="T31" fmla="*/ 915 h 915"/>
                <a:gd name="T32" fmla="*/ 862 w 940"/>
                <a:gd name="T33" fmla="*/ 885 h 915"/>
                <a:gd name="T34" fmla="*/ 892 w 940"/>
                <a:gd name="T35" fmla="*/ 824 h 915"/>
                <a:gd name="T36" fmla="*/ 914 w 940"/>
                <a:gd name="T37" fmla="*/ 763 h 915"/>
                <a:gd name="T38" fmla="*/ 929 w 940"/>
                <a:gd name="T39" fmla="*/ 700 h 915"/>
                <a:gd name="T40" fmla="*/ 937 w 940"/>
                <a:gd name="T41" fmla="*/ 637 h 915"/>
                <a:gd name="T42" fmla="*/ 940 w 940"/>
                <a:gd name="T43" fmla="*/ 575 h 915"/>
                <a:gd name="T44" fmla="*/ 936 w 940"/>
                <a:gd name="T45" fmla="*/ 514 h 915"/>
                <a:gd name="T46" fmla="*/ 925 w 940"/>
                <a:gd name="T47" fmla="*/ 453 h 915"/>
                <a:gd name="T48" fmla="*/ 907 w 940"/>
                <a:gd name="T49" fmla="*/ 394 h 915"/>
                <a:gd name="T50" fmla="*/ 884 w 940"/>
                <a:gd name="T51" fmla="*/ 337 h 915"/>
                <a:gd name="T52" fmla="*/ 855 w 940"/>
                <a:gd name="T53" fmla="*/ 281 h 915"/>
                <a:gd name="T54" fmla="*/ 819 w 940"/>
                <a:gd name="T55" fmla="*/ 228 h 915"/>
                <a:gd name="T56" fmla="*/ 778 w 940"/>
                <a:gd name="T57" fmla="*/ 177 h 915"/>
                <a:gd name="T58" fmla="*/ 730 w 940"/>
                <a:gd name="T59" fmla="*/ 131 h 915"/>
                <a:gd name="T60" fmla="*/ 676 w 940"/>
                <a:gd name="T61" fmla="*/ 88 h 915"/>
                <a:gd name="T62" fmla="*/ 616 w 940"/>
                <a:gd name="T63" fmla="*/ 48 h 915"/>
                <a:gd name="T64" fmla="*/ 584 w 940"/>
                <a:gd name="T65" fmla="*/ 29 h 915"/>
                <a:gd name="T66" fmla="*/ 566 w 940"/>
                <a:gd name="T67" fmla="*/ 22 h 915"/>
                <a:gd name="T68" fmla="*/ 511 w 940"/>
                <a:gd name="T69" fmla="*/ 10 h 915"/>
                <a:gd name="T70" fmla="*/ 399 w 940"/>
                <a:gd name="T71" fmla="*/ 0 h 915"/>
                <a:gd name="T72" fmla="*/ 271 w 940"/>
                <a:gd name="T73" fmla="*/ 2 h 915"/>
                <a:gd name="T74" fmla="*/ 188 w 940"/>
                <a:gd name="T75" fmla="*/ 13 h 915"/>
                <a:gd name="T76" fmla="*/ 114 w 940"/>
                <a:gd name="T77" fmla="*/ 28 h 915"/>
                <a:gd name="T78" fmla="*/ 57 w 940"/>
                <a:gd name="T79" fmla="*/ 51 h 915"/>
                <a:gd name="T80" fmla="*/ 37 w 940"/>
                <a:gd name="T81" fmla="*/ 66 h 915"/>
                <a:gd name="T82" fmla="*/ 21 w 940"/>
                <a:gd name="T83" fmla="*/ 83 h 915"/>
                <a:gd name="T84" fmla="*/ 4 w 940"/>
                <a:gd name="T85" fmla="*/ 129 h 915"/>
                <a:gd name="T86" fmla="*/ 0 w 940"/>
                <a:gd name="T87" fmla="*/ 185 h 915"/>
                <a:gd name="T88" fmla="*/ 8 w 940"/>
                <a:gd name="T89" fmla="*/ 245 h 915"/>
                <a:gd name="T90" fmla="*/ 30 w 940"/>
                <a:gd name="T91" fmla="*/ 331 h 915"/>
                <a:gd name="T92" fmla="*/ 61 w 940"/>
                <a:gd name="T93" fmla="*/ 407 h 915"/>
                <a:gd name="T94" fmla="*/ 69 w 940"/>
                <a:gd name="T95" fmla="*/ 411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40" h="915">
                  <a:moveTo>
                    <a:pt x="69" y="411"/>
                  </a:moveTo>
                  <a:lnTo>
                    <a:pt x="78" y="435"/>
                  </a:lnTo>
                  <a:lnTo>
                    <a:pt x="107" y="473"/>
                  </a:lnTo>
                  <a:lnTo>
                    <a:pt x="149" y="497"/>
                  </a:lnTo>
                  <a:lnTo>
                    <a:pt x="200" y="512"/>
                  </a:lnTo>
                  <a:lnTo>
                    <a:pt x="288" y="519"/>
                  </a:lnTo>
                  <a:lnTo>
                    <a:pt x="420" y="518"/>
                  </a:lnTo>
                  <a:lnTo>
                    <a:pt x="524" y="521"/>
                  </a:lnTo>
                  <a:lnTo>
                    <a:pt x="590" y="530"/>
                  </a:lnTo>
                  <a:lnTo>
                    <a:pt x="652" y="548"/>
                  </a:lnTo>
                  <a:lnTo>
                    <a:pt x="709" y="576"/>
                  </a:lnTo>
                  <a:lnTo>
                    <a:pt x="758" y="618"/>
                  </a:lnTo>
                  <a:lnTo>
                    <a:pt x="798" y="678"/>
                  </a:lnTo>
                  <a:lnTo>
                    <a:pt x="827" y="755"/>
                  </a:lnTo>
                  <a:lnTo>
                    <a:pt x="844" y="855"/>
                  </a:lnTo>
                  <a:lnTo>
                    <a:pt x="845" y="915"/>
                  </a:lnTo>
                  <a:lnTo>
                    <a:pt x="862" y="885"/>
                  </a:lnTo>
                  <a:lnTo>
                    <a:pt x="892" y="824"/>
                  </a:lnTo>
                  <a:lnTo>
                    <a:pt x="914" y="763"/>
                  </a:lnTo>
                  <a:lnTo>
                    <a:pt x="929" y="700"/>
                  </a:lnTo>
                  <a:lnTo>
                    <a:pt x="937" y="637"/>
                  </a:lnTo>
                  <a:lnTo>
                    <a:pt x="940" y="575"/>
                  </a:lnTo>
                  <a:lnTo>
                    <a:pt x="936" y="514"/>
                  </a:lnTo>
                  <a:lnTo>
                    <a:pt x="925" y="453"/>
                  </a:lnTo>
                  <a:lnTo>
                    <a:pt x="907" y="394"/>
                  </a:lnTo>
                  <a:lnTo>
                    <a:pt x="884" y="337"/>
                  </a:lnTo>
                  <a:lnTo>
                    <a:pt x="855" y="281"/>
                  </a:lnTo>
                  <a:lnTo>
                    <a:pt x="819" y="228"/>
                  </a:lnTo>
                  <a:lnTo>
                    <a:pt x="778" y="177"/>
                  </a:lnTo>
                  <a:lnTo>
                    <a:pt x="730" y="131"/>
                  </a:lnTo>
                  <a:lnTo>
                    <a:pt x="676" y="88"/>
                  </a:lnTo>
                  <a:lnTo>
                    <a:pt x="616" y="48"/>
                  </a:lnTo>
                  <a:lnTo>
                    <a:pt x="584" y="29"/>
                  </a:lnTo>
                  <a:lnTo>
                    <a:pt x="566" y="22"/>
                  </a:lnTo>
                  <a:lnTo>
                    <a:pt x="511" y="10"/>
                  </a:lnTo>
                  <a:lnTo>
                    <a:pt x="399" y="0"/>
                  </a:lnTo>
                  <a:lnTo>
                    <a:pt x="271" y="2"/>
                  </a:lnTo>
                  <a:lnTo>
                    <a:pt x="188" y="13"/>
                  </a:lnTo>
                  <a:lnTo>
                    <a:pt x="114" y="28"/>
                  </a:lnTo>
                  <a:lnTo>
                    <a:pt x="57" y="51"/>
                  </a:lnTo>
                  <a:lnTo>
                    <a:pt x="37" y="66"/>
                  </a:lnTo>
                  <a:lnTo>
                    <a:pt x="21" y="83"/>
                  </a:lnTo>
                  <a:lnTo>
                    <a:pt x="4" y="129"/>
                  </a:lnTo>
                  <a:lnTo>
                    <a:pt x="0" y="185"/>
                  </a:lnTo>
                  <a:lnTo>
                    <a:pt x="8" y="245"/>
                  </a:lnTo>
                  <a:lnTo>
                    <a:pt x="30" y="331"/>
                  </a:lnTo>
                  <a:lnTo>
                    <a:pt x="61" y="407"/>
                  </a:lnTo>
                  <a:lnTo>
                    <a:pt x="69" y="41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30" name="Freeform 117">
              <a:extLst>
                <a:ext uri="{FF2B5EF4-FFF2-40B4-BE49-F238E27FC236}">
                  <a16:creationId xmlns:a16="http://schemas.microsoft.com/office/drawing/2014/main" id="{1AD5C427-1E2F-24F3-E8C9-359A4734E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5" y="1712913"/>
              <a:ext cx="153988" cy="330200"/>
            </a:xfrm>
            <a:custGeom>
              <a:avLst/>
              <a:gdLst>
                <a:gd name="T0" fmla="*/ 92 w 384"/>
                <a:gd name="T1" fmla="*/ 835 h 835"/>
                <a:gd name="T2" fmla="*/ 77 w 384"/>
                <a:gd name="T3" fmla="*/ 814 h 835"/>
                <a:gd name="T4" fmla="*/ 53 w 384"/>
                <a:gd name="T5" fmla="*/ 767 h 835"/>
                <a:gd name="T6" fmla="*/ 25 w 384"/>
                <a:gd name="T7" fmla="*/ 688 h 835"/>
                <a:gd name="T8" fmla="*/ 6 w 384"/>
                <a:gd name="T9" fmla="*/ 561 h 835"/>
                <a:gd name="T10" fmla="*/ 0 w 384"/>
                <a:gd name="T11" fmla="*/ 416 h 835"/>
                <a:gd name="T12" fmla="*/ 0 w 384"/>
                <a:gd name="T13" fmla="*/ 336 h 835"/>
                <a:gd name="T14" fmla="*/ 1 w 384"/>
                <a:gd name="T15" fmla="*/ 310 h 835"/>
                <a:gd name="T16" fmla="*/ 14 w 384"/>
                <a:gd name="T17" fmla="*/ 250 h 835"/>
                <a:gd name="T18" fmla="*/ 40 w 384"/>
                <a:gd name="T19" fmla="*/ 188 h 835"/>
                <a:gd name="T20" fmla="*/ 76 w 384"/>
                <a:gd name="T21" fmla="*/ 127 h 835"/>
                <a:gd name="T22" fmla="*/ 121 w 384"/>
                <a:gd name="T23" fmla="*/ 74 h 835"/>
                <a:gd name="T24" fmla="*/ 173 w 384"/>
                <a:gd name="T25" fmla="*/ 31 h 835"/>
                <a:gd name="T26" fmla="*/ 230 w 384"/>
                <a:gd name="T27" fmla="*/ 5 h 835"/>
                <a:gd name="T28" fmla="*/ 276 w 384"/>
                <a:gd name="T29" fmla="*/ 0 h 835"/>
                <a:gd name="T30" fmla="*/ 308 w 384"/>
                <a:gd name="T31" fmla="*/ 2 h 835"/>
                <a:gd name="T32" fmla="*/ 324 w 384"/>
                <a:gd name="T33" fmla="*/ 6 h 835"/>
                <a:gd name="T34" fmla="*/ 334 w 384"/>
                <a:gd name="T35" fmla="*/ 10 h 835"/>
                <a:gd name="T36" fmla="*/ 352 w 384"/>
                <a:gd name="T37" fmla="*/ 34 h 835"/>
                <a:gd name="T38" fmla="*/ 372 w 384"/>
                <a:gd name="T39" fmla="*/ 93 h 835"/>
                <a:gd name="T40" fmla="*/ 384 w 384"/>
                <a:gd name="T41" fmla="*/ 205 h 835"/>
                <a:gd name="T42" fmla="*/ 384 w 384"/>
                <a:gd name="T43" fmla="*/ 321 h 835"/>
                <a:gd name="T44" fmla="*/ 381 w 384"/>
                <a:gd name="T45" fmla="*/ 372 h 835"/>
                <a:gd name="T46" fmla="*/ 377 w 384"/>
                <a:gd name="T47" fmla="*/ 391 h 835"/>
                <a:gd name="T48" fmla="*/ 359 w 384"/>
                <a:gd name="T49" fmla="*/ 417 h 835"/>
                <a:gd name="T50" fmla="*/ 312 w 384"/>
                <a:gd name="T51" fmla="*/ 442 h 835"/>
                <a:gd name="T52" fmla="*/ 251 w 384"/>
                <a:gd name="T53" fmla="*/ 468 h 835"/>
                <a:gd name="T54" fmla="*/ 210 w 384"/>
                <a:gd name="T55" fmla="*/ 492 h 835"/>
                <a:gd name="T56" fmla="*/ 171 w 384"/>
                <a:gd name="T57" fmla="*/ 531 h 835"/>
                <a:gd name="T58" fmla="*/ 140 w 384"/>
                <a:gd name="T59" fmla="*/ 590 h 835"/>
                <a:gd name="T60" fmla="*/ 128 w 384"/>
                <a:gd name="T61" fmla="*/ 628 h 835"/>
                <a:gd name="T62" fmla="*/ 116 w 384"/>
                <a:gd name="T63" fmla="*/ 647 h 835"/>
                <a:gd name="T64" fmla="*/ 103 w 384"/>
                <a:gd name="T65" fmla="*/ 693 h 835"/>
                <a:gd name="T66" fmla="*/ 95 w 384"/>
                <a:gd name="T67" fmla="*/ 779 h 835"/>
                <a:gd name="T68" fmla="*/ 92 w 384"/>
                <a:gd name="T69" fmla="*/ 835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4" h="835">
                  <a:moveTo>
                    <a:pt x="92" y="835"/>
                  </a:moveTo>
                  <a:lnTo>
                    <a:pt x="77" y="814"/>
                  </a:lnTo>
                  <a:lnTo>
                    <a:pt x="53" y="767"/>
                  </a:lnTo>
                  <a:lnTo>
                    <a:pt x="25" y="688"/>
                  </a:lnTo>
                  <a:lnTo>
                    <a:pt x="6" y="561"/>
                  </a:lnTo>
                  <a:lnTo>
                    <a:pt x="0" y="416"/>
                  </a:lnTo>
                  <a:lnTo>
                    <a:pt x="0" y="336"/>
                  </a:lnTo>
                  <a:lnTo>
                    <a:pt x="1" y="310"/>
                  </a:lnTo>
                  <a:lnTo>
                    <a:pt x="14" y="250"/>
                  </a:lnTo>
                  <a:lnTo>
                    <a:pt x="40" y="188"/>
                  </a:lnTo>
                  <a:lnTo>
                    <a:pt x="76" y="127"/>
                  </a:lnTo>
                  <a:lnTo>
                    <a:pt x="121" y="74"/>
                  </a:lnTo>
                  <a:lnTo>
                    <a:pt x="173" y="31"/>
                  </a:lnTo>
                  <a:lnTo>
                    <a:pt x="230" y="5"/>
                  </a:lnTo>
                  <a:lnTo>
                    <a:pt x="276" y="0"/>
                  </a:lnTo>
                  <a:lnTo>
                    <a:pt x="308" y="2"/>
                  </a:lnTo>
                  <a:lnTo>
                    <a:pt x="324" y="6"/>
                  </a:lnTo>
                  <a:lnTo>
                    <a:pt x="334" y="10"/>
                  </a:lnTo>
                  <a:lnTo>
                    <a:pt x="352" y="34"/>
                  </a:lnTo>
                  <a:lnTo>
                    <a:pt x="372" y="93"/>
                  </a:lnTo>
                  <a:lnTo>
                    <a:pt x="384" y="205"/>
                  </a:lnTo>
                  <a:lnTo>
                    <a:pt x="384" y="321"/>
                  </a:lnTo>
                  <a:lnTo>
                    <a:pt x="381" y="372"/>
                  </a:lnTo>
                  <a:lnTo>
                    <a:pt x="377" y="391"/>
                  </a:lnTo>
                  <a:lnTo>
                    <a:pt x="359" y="417"/>
                  </a:lnTo>
                  <a:lnTo>
                    <a:pt x="312" y="442"/>
                  </a:lnTo>
                  <a:lnTo>
                    <a:pt x="251" y="468"/>
                  </a:lnTo>
                  <a:lnTo>
                    <a:pt x="210" y="492"/>
                  </a:lnTo>
                  <a:lnTo>
                    <a:pt x="171" y="531"/>
                  </a:lnTo>
                  <a:lnTo>
                    <a:pt x="140" y="590"/>
                  </a:lnTo>
                  <a:lnTo>
                    <a:pt x="128" y="628"/>
                  </a:lnTo>
                  <a:lnTo>
                    <a:pt x="116" y="647"/>
                  </a:lnTo>
                  <a:lnTo>
                    <a:pt x="103" y="693"/>
                  </a:lnTo>
                  <a:lnTo>
                    <a:pt x="95" y="779"/>
                  </a:lnTo>
                  <a:lnTo>
                    <a:pt x="92" y="8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31" name="Freeform 118">
              <a:extLst>
                <a:ext uri="{FF2B5EF4-FFF2-40B4-BE49-F238E27FC236}">
                  <a16:creationId xmlns:a16="http://schemas.microsoft.com/office/drawing/2014/main" id="{A2472F36-A1B1-4726-26B7-CD749A1BA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6800" y="2249488"/>
              <a:ext cx="125413" cy="68263"/>
            </a:xfrm>
            <a:custGeom>
              <a:avLst/>
              <a:gdLst>
                <a:gd name="T0" fmla="*/ 158 w 317"/>
                <a:gd name="T1" fmla="*/ 173 h 173"/>
                <a:gd name="T2" fmla="*/ 171 w 317"/>
                <a:gd name="T3" fmla="*/ 172 h 173"/>
                <a:gd name="T4" fmla="*/ 199 w 317"/>
                <a:gd name="T5" fmla="*/ 166 h 173"/>
                <a:gd name="T6" fmla="*/ 239 w 317"/>
                <a:gd name="T7" fmla="*/ 144 h 173"/>
                <a:gd name="T8" fmla="*/ 285 w 317"/>
                <a:gd name="T9" fmla="*/ 97 h 173"/>
                <a:gd name="T10" fmla="*/ 309 w 317"/>
                <a:gd name="T11" fmla="*/ 52 h 173"/>
                <a:gd name="T12" fmla="*/ 317 w 317"/>
                <a:gd name="T13" fmla="*/ 18 h 173"/>
                <a:gd name="T14" fmla="*/ 317 w 317"/>
                <a:gd name="T15" fmla="*/ 0 h 173"/>
                <a:gd name="T16" fmla="*/ 0 w 317"/>
                <a:gd name="T17" fmla="*/ 0 h 173"/>
                <a:gd name="T18" fmla="*/ 0 w 317"/>
                <a:gd name="T19" fmla="*/ 18 h 173"/>
                <a:gd name="T20" fmla="*/ 8 w 317"/>
                <a:gd name="T21" fmla="*/ 52 h 173"/>
                <a:gd name="T22" fmla="*/ 31 w 317"/>
                <a:gd name="T23" fmla="*/ 97 h 173"/>
                <a:gd name="T24" fmla="*/ 78 w 317"/>
                <a:gd name="T25" fmla="*/ 144 h 173"/>
                <a:gd name="T26" fmla="*/ 118 w 317"/>
                <a:gd name="T27" fmla="*/ 166 h 173"/>
                <a:gd name="T28" fmla="*/ 145 w 317"/>
                <a:gd name="T29" fmla="*/ 172 h 173"/>
                <a:gd name="T30" fmla="*/ 158 w 317"/>
                <a:gd name="T31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7" h="173">
                  <a:moveTo>
                    <a:pt x="158" y="173"/>
                  </a:moveTo>
                  <a:lnTo>
                    <a:pt x="171" y="172"/>
                  </a:lnTo>
                  <a:lnTo>
                    <a:pt x="199" y="166"/>
                  </a:lnTo>
                  <a:lnTo>
                    <a:pt x="239" y="144"/>
                  </a:lnTo>
                  <a:lnTo>
                    <a:pt x="285" y="97"/>
                  </a:lnTo>
                  <a:lnTo>
                    <a:pt x="309" y="52"/>
                  </a:lnTo>
                  <a:lnTo>
                    <a:pt x="317" y="18"/>
                  </a:lnTo>
                  <a:lnTo>
                    <a:pt x="317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8" y="52"/>
                  </a:lnTo>
                  <a:lnTo>
                    <a:pt x="31" y="97"/>
                  </a:lnTo>
                  <a:lnTo>
                    <a:pt x="78" y="144"/>
                  </a:lnTo>
                  <a:lnTo>
                    <a:pt x="118" y="166"/>
                  </a:lnTo>
                  <a:lnTo>
                    <a:pt x="145" y="172"/>
                  </a:lnTo>
                  <a:lnTo>
                    <a:pt x="158" y="173"/>
                  </a:lnTo>
                  <a:close/>
                </a:path>
              </a:pathLst>
            </a:custGeom>
            <a:solidFill>
              <a:srgbClr val="E3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32" name="Freeform 306">
              <a:extLst>
                <a:ext uri="{FF2B5EF4-FFF2-40B4-BE49-F238E27FC236}">
                  <a16:creationId xmlns:a16="http://schemas.microsoft.com/office/drawing/2014/main" id="{3498303E-F131-46ED-8968-BAA561AD6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063" y="2746375"/>
              <a:ext cx="12700" cy="4763"/>
            </a:xfrm>
            <a:custGeom>
              <a:avLst/>
              <a:gdLst>
                <a:gd name="T0" fmla="*/ 0 w 33"/>
                <a:gd name="T1" fmla="*/ 9 h 9"/>
                <a:gd name="T2" fmla="*/ 16 w 33"/>
                <a:gd name="T3" fmla="*/ 3 h 9"/>
                <a:gd name="T4" fmla="*/ 33 w 33"/>
                <a:gd name="T5" fmla="*/ 0 h 9"/>
                <a:gd name="T6" fmla="*/ 29 w 33"/>
                <a:gd name="T7" fmla="*/ 2 h 9"/>
                <a:gd name="T8" fmla="*/ 24 w 33"/>
                <a:gd name="T9" fmla="*/ 3 h 9"/>
                <a:gd name="T10" fmla="*/ 13 w 33"/>
                <a:gd name="T11" fmla="*/ 7 h 9"/>
                <a:gd name="T12" fmla="*/ 0 w 3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9">
                  <a:moveTo>
                    <a:pt x="0" y="9"/>
                  </a:moveTo>
                  <a:lnTo>
                    <a:pt x="16" y="3"/>
                  </a:lnTo>
                  <a:lnTo>
                    <a:pt x="33" y="0"/>
                  </a:lnTo>
                  <a:lnTo>
                    <a:pt x="29" y="2"/>
                  </a:lnTo>
                  <a:lnTo>
                    <a:pt x="24" y="3"/>
                  </a:lnTo>
                  <a:lnTo>
                    <a:pt x="13" y="7"/>
                  </a:lnTo>
                  <a:lnTo>
                    <a:pt x="0" y="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33" name="Freeform 307">
              <a:extLst>
                <a:ext uri="{FF2B5EF4-FFF2-40B4-BE49-F238E27FC236}">
                  <a16:creationId xmlns:a16="http://schemas.microsoft.com/office/drawing/2014/main" id="{0788A66F-581C-B4B3-10DD-DE35F04279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4100" y="2740025"/>
              <a:ext cx="3175" cy="3175"/>
            </a:xfrm>
            <a:custGeom>
              <a:avLst/>
              <a:gdLst>
                <a:gd name="T0" fmla="*/ 0 w 6"/>
                <a:gd name="T1" fmla="*/ 7 h 7"/>
                <a:gd name="T2" fmla="*/ 0 w 6"/>
                <a:gd name="T3" fmla="*/ 6 h 7"/>
                <a:gd name="T4" fmla="*/ 0 w 6"/>
                <a:gd name="T5" fmla="*/ 4 h 7"/>
                <a:gd name="T6" fmla="*/ 4 w 6"/>
                <a:gd name="T7" fmla="*/ 2 h 7"/>
                <a:gd name="T8" fmla="*/ 6 w 6"/>
                <a:gd name="T9" fmla="*/ 0 h 7"/>
                <a:gd name="T10" fmla="*/ 0 w 6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7">
                  <a:moveTo>
                    <a:pt x="0" y="7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4" y="2"/>
                  </a:lnTo>
                  <a:lnTo>
                    <a:pt x="6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34" name="Freeform 313">
              <a:extLst>
                <a:ext uri="{FF2B5EF4-FFF2-40B4-BE49-F238E27FC236}">
                  <a16:creationId xmlns:a16="http://schemas.microsoft.com/office/drawing/2014/main" id="{B70CD949-1FDA-4B29-E53C-8C35E3BA14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063" y="2317750"/>
              <a:ext cx="577850" cy="571500"/>
            </a:xfrm>
            <a:custGeom>
              <a:avLst/>
              <a:gdLst>
                <a:gd name="T0" fmla="*/ 0 w 1456"/>
                <a:gd name="T1" fmla="*/ 1437 h 1437"/>
                <a:gd name="T2" fmla="*/ 0 w 1456"/>
                <a:gd name="T3" fmla="*/ 1088 h 1437"/>
                <a:gd name="T4" fmla="*/ 1 w 1456"/>
                <a:gd name="T5" fmla="*/ 1088 h 1437"/>
                <a:gd name="T6" fmla="*/ 14 w 1456"/>
                <a:gd name="T7" fmla="*/ 1086 h 1437"/>
                <a:gd name="T8" fmla="*/ 25 w 1456"/>
                <a:gd name="T9" fmla="*/ 1082 h 1437"/>
                <a:gd name="T10" fmla="*/ 30 w 1456"/>
                <a:gd name="T11" fmla="*/ 1081 h 1437"/>
                <a:gd name="T12" fmla="*/ 34 w 1456"/>
                <a:gd name="T13" fmla="*/ 1079 h 1437"/>
                <a:gd name="T14" fmla="*/ 38 w 1456"/>
                <a:gd name="T15" fmla="*/ 1078 h 1437"/>
                <a:gd name="T16" fmla="*/ 40 w 1456"/>
                <a:gd name="T17" fmla="*/ 1078 h 1437"/>
                <a:gd name="T18" fmla="*/ 47 w 1456"/>
                <a:gd name="T19" fmla="*/ 1079 h 1437"/>
                <a:gd name="T20" fmla="*/ 53 w 1456"/>
                <a:gd name="T21" fmla="*/ 1079 h 1437"/>
                <a:gd name="T22" fmla="*/ 58 w 1456"/>
                <a:gd name="T23" fmla="*/ 1081 h 1437"/>
                <a:gd name="T24" fmla="*/ 64 w 1456"/>
                <a:gd name="T25" fmla="*/ 1081 h 1437"/>
                <a:gd name="T26" fmla="*/ 84 w 1456"/>
                <a:gd name="T27" fmla="*/ 1079 h 1437"/>
                <a:gd name="T28" fmla="*/ 117 w 1456"/>
                <a:gd name="T29" fmla="*/ 1066 h 1437"/>
                <a:gd name="T30" fmla="*/ 117 w 1456"/>
                <a:gd name="T31" fmla="*/ 1068 h 1437"/>
                <a:gd name="T32" fmla="*/ 117 w 1456"/>
                <a:gd name="T33" fmla="*/ 1069 h 1437"/>
                <a:gd name="T34" fmla="*/ 123 w 1456"/>
                <a:gd name="T35" fmla="*/ 1062 h 1437"/>
                <a:gd name="T36" fmla="*/ 166 w 1456"/>
                <a:gd name="T37" fmla="*/ 1040 h 1437"/>
                <a:gd name="T38" fmla="*/ 224 w 1456"/>
                <a:gd name="T39" fmla="*/ 999 h 1437"/>
                <a:gd name="T40" fmla="*/ 227 w 1456"/>
                <a:gd name="T41" fmla="*/ 990 h 1437"/>
                <a:gd name="T42" fmla="*/ 228 w 1456"/>
                <a:gd name="T43" fmla="*/ 980 h 1437"/>
                <a:gd name="T44" fmla="*/ 1456 w 1456"/>
                <a:gd name="T45" fmla="*/ 0 h 1437"/>
                <a:gd name="T46" fmla="*/ 1456 w 1456"/>
                <a:gd name="T47" fmla="*/ 44 h 1437"/>
                <a:gd name="T48" fmla="*/ 187 w 1456"/>
                <a:gd name="T49" fmla="*/ 1091 h 1437"/>
                <a:gd name="T50" fmla="*/ 197 w 1456"/>
                <a:gd name="T51" fmla="*/ 1114 h 1437"/>
                <a:gd name="T52" fmla="*/ 217 w 1456"/>
                <a:gd name="T53" fmla="*/ 1177 h 1437"/>
                <a:gd name="T54" fmla="*/ 230 w 1456"/>
                <a:gd name="T55" fmla="*/ 1249 h 1437"/>
                <a:gd name="T56" fmla="*/ 231 w 1456"/>
                <a:gd name="T57" fmla="*/ 1318 h 1437"/>
                <a:gd name="T58" fmla="*/ 224 w 1456"/>
                <a:gd name="T59" fmla="*/ 1348 h 1437"/>
                <a:gd name="T60" fmla="*/ 213 w 1456"/>
                <a:gd name="T61" fmla="*/ 1355 h 1437"/>
                <a:gd name="T62" fmla="*/ 201 w 1456"/>
                <a:gd name="T63" fmla="*/ 1363 h 1437"/>
                <a:gd name="T64" fmla="*/ 196 w 1456"/>
                <a:gd name="T65" fmla="*/ 1367 h 1437"/>
                <a:gd name="T66" fmla="*/ 187 w 1456"/>
                <a:gd name="T67" fmla="*/ 1374 h 1437"/>
                <a:gd name="T68" fmla="*/ 179 w 1456"/>
                <a:gd name="T69" fmla="*/ 1379 h 1437"/>
                <a:gd name="T70" fmla="*/ 175 w 1456"/>
                <a:gd name="T71" fmla="*/ 1381 h 1437"/>
                <a:gd name="T72" fmla="*/ 154 w 1456"/>
                <a:gd name="T73" fmla="*/ 1394 h 1437"/>
                <a:gd name="T74" fmla="*/ 138 w 1456"/>
                <a:gd name="T75" fmla="*/ 1403 h 1437"/>
                <a:gd name="T76" fmla="*/ 112 w 1456"/>
                <a:gd name="T77" fmla="*/ 1416 h 1437"/>
                <a:gd name="T78" fmla="*/ 75 w 1456"/>
                <a:gd name="T79" fmla="*/ 1429 h 1437"/>
                <a:gd name="T80" fmla="*/ 64 w 1456"/>
                <a:gd name="T81" fmla="*/ 1429 h 1437"/>
                <a:gd name="T82" fmla="*/ 58 w 1456"/>
                <a:gd name="T83" fmla="*/ 1429 h 1437"/>
                <a:gd name="T84" fmla="*/ 53 w 1456"/>
                <a:gd name="T85" fmla="*/ 1428 h 1437"/>
                <a:gd name="T86" fmla="*/ 47 w 1456"/>
                <a:gd name="T87" fmla="*/ 1427 h 1437"/>
                <a:gd name="T88" fmla="*/ 40 w 1456"/>
                <a:gd name="T89" fmla="*/ 1427 h 1437"/>
                <a:gd name="T90" fmla="*/ 20 w 1456"/>
                <a:gd name="T91" fmla="*/ 1429 h 1437"/>
                <a:gd name="T92" fmla="*/ 0 w 1456"/>
                <a:gd name="T93" fmla="*/ 1437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56" h="1437">
                  <a:moveTo>
                    <a:pt x="0" y="1437"/>
                  </a:moveTo>
                  <a:lnTo>
                    <a:pt x="0" y="1088"/>
                  </a:lnTo>
                  <a:lnTo>
                    <a:pt x="1" y="1088"/>
                  </a:lnTo>
                  <a:lnTo>
                    <a:pt x="14" y="1086"/>
                  </a:lnTo>
                  <a:lnTo>
                    <a:pt x="25" y="1082"/>
                  </a:lnTo>
                  <a:lnTo>
                    <a:pt x="30" y="1081"/>
                  </a:lnTo>
                  <a:lnTo>
                    <a:pt x="34" y="1079"/>
                  </a:lnTo>
                  <a:lnTo>
                    <a:pt x="38" y="1078"/>
                  </a:lnTo>
                  <a:lnTo>
                    <a:pt x="40" y="1078"/>
                  </a:lnTo>
                  <a:lnTo>
                    <a:pt x="47" y="1079"/>
                  </a:lnTo>
                  <a:lnTo>
                    <a:pt x="53" y="1079"/>
                  </a:lnTo>
                  <a:lnTo>
                    <a:pt x="58" y="1081"/>
                  </a:lnTo>
                  <a:lnTo>
                    <a:pt x="64" y="1081"/>
                  </a:lnTo>
                  <a:lnTo>
                    <a:pt x="84" y="1079"/>
                  </a:lnTo>
                  <a:lnTo>
                    <a:pt x="117" y="1066"/>
                  </a:lnTo>
                  <a:lnTo>
                    <a:pt x="117" y="1068"/>
                  </a:lnTo>
                  <a:lnTo>
                    <a:pt x="117" y="1069"/>
                  </a:lnTo>
                  <a:lnTo>
                    <a:pt x="123" y="1062"/>
                  </a:lnTo>
                  <a:lnTo>
                    <a:pt x="166" y="1040"/>
                  </a:lnTo>
                  <a:lnTo>
                    <a:pt x="224" y="999"/>
                  </a:lnTo>
                  <a:lnTo>
                    <a:pt x="227" y="990"/>
                  </a:lnTo>
                  <a:lnTo>
                    <a:pt x="228" y="980"/>
                  </a:lnTo>
                  <a:lnTo>
                    <a:pt x="1456" y="0"/>
                  </a:lnTo>
                  <a:lnTo>
                    <a:pt x="1456" y="44"/>
                  </a:lnTo>
                  <a:lnTo>
                    <a:pt x="187" y="1091"/>
                  </a:lnTo>
                  <a:lnTo>
                    <a:pt x="197" y="1114"/>
                  </a:lnTo>
                  <a:lnTo>
                    <a:pt x="217" y="1177"/>
                  </a:lnTo>
                  <a:lnTo>
                    <a:pt x="230" y="1249"/>
                  </a:lnTo>
                  <a:lnTo>
                    <a:pt x="231" y="1318"/>
                  </a:lnTo>
                  <a:lnTo>
                    <a:pt x="224" y="1348"/>
                  </a:lnTo>
                  <a:lnTo>
                    <a:pt x="213" y="1355"/>
                  </a:lnTo>
                  <a:lnTo>
                    <a:pt x="201" y="1363"/>
                  </a:lnTo>
                  <a:lnTo>
                    <a:pt x="196" y="1367"/>
                  </a:lnTo>
                  <a:lnTo>
                    <a:pt x="187" y="1374"/>
                  </a:lnTo>
                  <a:lnTo>
                    <a:pt x="179" y="1379"/>
                  </a:lnTo>
                  <a:lnTo>
                    <a:pt x="175" y="1381"/>
                  </a:lnTo>
                  <a:lnTo>
                    <a:pt x="154" y="1394"/>
                  </a:lnTo>
                  <a:lnTo>
                    <a:pt x="138" y="1403"/>
                  </a:lnTo>
                  <a:lnTo>
                    <a:pt x="112" y="1416"/>
                  </a:lnTo>
                  <a:lnTo>
                    <a:pt x="75" y="1429"/>
                  </a:lnTo>
                  <a:lnTo>
                    <a:pt x="64" y="1429"/>
                  </a:lnTo>
                  <a:lnTo>
                    <a:pt x="58" y="1429"/>
                  </a:lnTo>
                  <a:lnTo>
                    <a:pt x="53" y="1428"/>
                  </a:lnTo>
                  <a:lnTo>
                    <a:pt x="47" y="1427"/>
                  </a:lnTo>
                  <a:lnTo>
                    <a:pt x="40" y="1427"/>
                  </a:lnTo>
                  <a:lnTo>
                    <a:pt x="20" y="1429"/>
                  </a:lnTo>
                  <a:lnTo>
                    <a:pt x="0" y="143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35" name="Freeform 316">
              <a:extLst>
                <a:ext uri="{FF2B5EF4-FFF2-40B4-BE49-F238E27FC236}">
                  <a16:creationId xmlns:a16="http://schemas.microsoft.com/office/drawing/2014/main" id="{F4C8385B-94D5-3372-7AA1-FBFF7E9E8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063" y="2644775"/>
              <a:ext cx="90488" cy="106363"/>
            </a:xfrm>
            <a:custGeom>
              <a:avLst/>
              <a:gdLst>
                <a:gd name="T0" fmla="*/ 0 w 231"/>
                <a:gd name="T1" fmla="*/ 265 h 265"/>
                <a:gd name="T2" fmla="*/ 0 w 231"/>
                <a:gd name="T3" fmla="*/ 0 h 265"/>
                <a:gd name="T4" fmla="*/ 36 w 231"/>
                <a:gd name="T5" fmla="*/ 44 h 265"/>
                <a:gd name="T6" fmla="*/ 87 w 231"/>
                <a:gd name="T7" fmla="*/ 2 h 265"/>
                <a:gd name="T8" fmla="*/ 90 w 231"/>
                <a:gd name="T9" fmla="*/ 53 h 265"/>
                <a:gd name="T10" fmla="*/ 108 w 231"/>
                <a:gd name="T11" fmla="*/ 158 h 265"/>
                <a:gd name="T12" fmla="*/ 112 w 231"/>
                <a:gd name="T13" fmla="*/ 204 h 265"/>
                <a:gd name="T14" fmla="*/ 113 w 231"/>
                <a:gd name="T15" fmla="*/ 216 h 265"/>
                <a:gd name="T16" fmla="*/ 127 w 231"/>
                <a:gd name="T17" fmla="*/ 229 h 265"/>
                <a:gd name="T18" fmla="*/ 138 w 231"/>
                <a:gd name="T19" fmla="*/ 233 h 265"/>
                <a:gd name="T20" fmla="*/ 175 w 231"/>
                <a:gd name="T21" fmla="*/ 211 h 265"/>
                <a:gd name="T22" fmla="*/ 224 w 231"/>
                <a:gd name="T23" fmla="*/ 176 h 265"/>
                <a:gd name="T24" fmla="*/ 230 w 231"/>
                <a:gd name="T25" fmla="*/ 150 h 265"/>
                <a:gd name="T26" fmla="*/ 231 w 231"/>
                <a:gd name="T27" fmla="*/ 120 h 265"/>
                <a:gd name="T28" fmla="*/ 231 w 231"/>
                <a:gd name="T29" fmla="*/ 138 h 265"/>
                <a:gd name="T30" fmla="*/ 228 w 231"/>
                <a:gd name="T31" fmla="*/ 157 h 265"/>
                <a:gd name="T32" fmla="*/ 227 w 231"/>
                <a:gd name="T33" fmla="*/ 167 h 265"/>
                <a:gd name="T34" fmla="*/ 224 w 231"/>
                <a:gd name="T35" fmla="*/ 176 h 265"/>
                <a:gd name="T36" fmla="*/ 166 w 231"/>
                <a:gd name="T37" fmla="*/ 217 h 265"/>
                <a:gd name="T38" fmla="*/ 123 w 231"/>
                <a:gd name="T39" fmla="*/ 239 h 265"/>
                <a:gd name="T40" fmla="*/ 121 w 231"/>
                <a:gd name="T41" fmla="*/ 241 h 265"/>
                <a:gd name="T42" fmla="*/ 117 w 231"/>
                <a:gd name="T43" fmla="*/ 243 h 265"/>
                <a:gd name="T44" fmla="*/ 84 w 231"/>
                <a:gd name="T45" fmla="*/ 256 h 265"/>
                <a:gd name="T46" fmla="*/ 64 w 231"/>
                <a:gd name="T47" fmla="*/ 258 h 265"/>
                <a:gd name="T48" fmla="*/ 58 w 231"/>
                <a:gd name="T49" fmla="*/ 258 h 265"/>
                <a:gd name="T50" fmla="*/ 53 w 231"/>
                <a:gd name="T51" fmla="*/ 256 h 265"/>
                <a:gd name="T52" fmla="*/ 47 w 231"/>
                <a:gd name="T53" fmla="*/ 256 h 265"/>
                <a:gd name="T54" fmla="*/ 40 w 231"/>
                <a:gd name="T55" fmla="*/ 255 h 265"/>
                <a:gd name="T56" fmla="*/ 38 w 231"/>
                <a:gd name="T57" fmla="*/ 255 h 265"/>
                <a:gd name="T58" fmla="*/ 34 w 231"/>
                <a:gd name="T59" fmla="*/ 256 h 265"/>
                <a:gd name="T60" fmla="*/ 17 w 231"/>
                <a:gd name="T61" fmla="*/ 259 h 265"/>
                <a:gd name="T62" fmla="*/ 1 w 231"/>
                <a:gd name="T63" fmla="*/ 265 h 265"/>
                <a:gd name="T64" fmla="*/ 0 w 231"/>
                <a:gd name="T65" fmla="*/ 265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1" h="265">
                  <a:moveTo>
                    <a:pt x="0" y="265"/>
                  </a:moveTo>
                  <a:lnTo>
                    <a:pt x="0" y="0"/>
                  </a:lnTo>
                  <a:lnTo>
                    <a:pt x="36" y="44"/>
                  </a:lnTo>
                  <a:lnTo>
                    <a:pt x="87" y="2"/>
                  </a:lnTo>
                  <a:lnTo>
                    <a:pt x="90" y="53"/>
                  </a:lnTo>
                  <a:lnTo>
                    <a:pt x="108" y="158"/>
                  </a:lnTo>
                  <a:lnTo>
                    <a:pt x="112" y="204"/>
                  </a:lnTo>
                  <a:lnTo>
                    <a:pt x="113" y="216"/>
                  </a:lnTo>
                  <a:lnTo>
                    <a:pt x="127" y="229"/>
                  </a:lnTo>
                  <a:lnTo>
                    <a:pt x="138" y="233"/>
                  </a:lnTo>
                  <a:lnTo>
                    <a:pt x="175" y="211"/>
                  </a:lnTo>
                  <a:lnTo>
                    <a:pt x="224" y="176"/>
                  </a:lnTo>
                  <a:lnTo>
                    <a:pt x="230" y="150"/>
                  </a:lnTo>
                  <a:lnTo>
                    <a:pt x="231" y="120"/>
                  </a:lnTo>
                  <a:lnTo>
                    <a:pt x="231" y="138"/>
                  </a:lnTo>
                  <a:lnTo>
                    <a:pt x="228" y="157"/>
                  </a:lnTo>
                  <a:lnTo>
                    <a:pt x="227" y="167"/>
                  </a:lnTo>
                  <a:lnTo>
                    <a:pt x="224" y="176"/>
                  </a:lnTo>
                  <a:lnTo>
                    <a:pt x="166" y="217"/>
                  </a:lnTo>
                  <a:lnTo>
                    <a:pt x="123" y="239"/>
                  </a:lnTo>
                  <a:lnTo>
                    <a:pt x="121" y="241"/>
                  </a:lnTo>
                  <a:lnTo>
                    <a:pt x="117" y="243"/>
                  </a:lnTo>
                  <a:lnTo>
                    <a:pt x="84" y="256"/>
                  </a:lnTo>
                  <a:lnTo>
                    <a:pt x="64" y="258"/>
                  </a:lnTo>
                  <a:lnTo>
                    <a:pt x="58" y="258"/>
                  </a:lnTo>
                  <a:lnTo>
                    <a:pt x="53" y="256"/>
                  </a:lnTo>
                  <a:lnTo>
                    <a:pt x="47" y="256"/>
                  </a:lnTo>
                  <a:lnTo>
                    <a:pt x="40" y="255"/>
                  </a:lnTo>
                  <a:lnTo>
                    <a:pt x="38" y="255"/>
                  </a:lnTo>
                  <a:lnTo>
                    <a:pt x="34" y="256"/>
                  </a:lnTo>
                  <a:lnTo>
                    <a:pt x="17" y="259"/>
                  </a:lnTo>
                  <a:lnTo>
                    <a:pt x="1" y="265"/>
                  </a:lnTo>
                  <a:lnTo>
                    <a:pt x="0" y="26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36" name="Freeform 317">
              <a:extLst>
                <a:ext uri="{FF2B5EF4-FFF2-40B4-BE49-F238E27FC236}">
                  <a16:creationId xmlns:a16="http://schemas.microsoft.com/office/drawing/2014/main" id="{48C0A8B5-F95D-FCCB-BE1B-66C29D91F5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063" y="2635250"/>
              <a:ext cx="7938" cy="6350"/>
            </a:xfrm>
            <a:custGeom>
              <a:avLst/>
              <a:gdLst>
                <a:gd name="T0" fmla="*/ 0 w 21"/>
                <a:gd name="T1" fmla="*/ 17 h 17"/>
                <a:gd name="T2" fmla="*/ 0 w 21"/>
                <a:gd name="T3" fmla="*/ 10 h 17"/>
                <a:gd name="T4" fmla="*/ 10 w 21"/>
                <a:gd name="T5" fmla="*/ 5 h 17"/>
                <a:gd name="T6" fmla="*/ 21 w 21"/>
                <a:gd name="T7" fmla="*/ 0 h 17"/>
                <a:gd name="T8" fmla="*/ 0 w 21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7">
                  <a:moveTo>
                    <a:pt x="0" y="17"/>
                  </a:moveTo>
                  <a:lnTo>
                    <a:pt x="0" y="10"/>
                  </a:lnTo>
                  <a:lnTo>
                    <a:pt x="10" y="5"/>
                  </a:lnTo>
                  <a:lnTo>
                    <a:pt x="21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E6C8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37" name="Freeform 318">
              <a:extLst>
                <a:ext uri="{FF2B5EF4-FFF2-40B4-BE49-F238E27FC236}">
                  <a16:creationId xmlns:a16="http://schemas.microsoft.com/office/drawing/2014/main" id="{7EE06EAF-8FF6-BB31-7053-D64E74E736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063" y="2595563"/>
              <a:ext cx="46038" cy="42863"/>
            </a:xfrm>
            <a:custGeom>
              <a:avLst/>
              <a:gdLst>
                <a:gd name="T0" fmla="*/ 0 w 118"/>
                <a:gd name="T1" fmla="*/ 109 h 109"/>
                <a:gd name="T2" fmla="*/ 0 w 118"/>
                <a:gd name="T3" fmla="*/ 42 h 109"/>
                <a:gd name="T4" fmla="*/ 13 w 118"/>
                <a:gd name="T5" fmla="*/ 40 h 109"/>
                <a:gd name="T6" fmla="*/ 25 w 118"/>
                <a:gd name="T7" fmla="*/ 37 h 109"/>
                <a:gd name="T8" fmla="*/ 96 w 118"/>
                <a:gd name="T9" fmla="*/ 7 h 109"/>
                <a:gd name="T10" fmla="*/ 114 w 118"/>
                <a:gd name="T11" fmla="*/ 0 h 109"/>
                <a:gd name="T12" fmla="*/ 114 w 118"/>
                <a:gd name="T13" fmla="*/ 0 h 109"/>
                <a:gd name="T14" fmla="*/ 115 w 118"/>
                <a:gd name="T15" fmla="*/ 2 h 109"/>
                <a:gd name="T16" fmla="*/ 118 w 118"/>
                <a:gd name="T17" fmla="*/ 11 h 109"/>
                <a:gd name="T18" fmla="*/ 117 w 118"/>
                <a:gd name="T19" fmla="*/ 22 h 109"/>
                <a:gd name="T20" fmla="*/ 21 w 118"/>
                <a:gd name="T21" fmla="*/ 99 h 109"/>
                <a:gd name="T22" fmla="*/ 10 w 118"/>
                <a:gd name="T23" fmla="*/ 104 h 109"/>
                <a:gd name="T24" fmla="*/ 0 w 118"/>
                <a:gd name="T25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8" h="109">
                  <a:moveTo>
                    <a:pt x="0" y="109"/>
                  </a:moveTo>
                  <a:lnTo>
                    <a:pt x="0" y="42"/>
                  </a:lnTo>
                  <a:lnTo>
                    <a:pt x="13" y="40"/>
                  </a:lnTo>
                  <a:lnTo>
                    <a:pt x="25" y="37"/>
                  </a:lnTo>
                  <a:lnTo>
                    <a:pt x="96" y="7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5" y="2"/>
                  </a:lnTo>
                  <a:lnTo>
                    <a:pt x="118" y="11"/>
                  </a:lnTo>
                  <a:lnTo>
                    <a:pt x="117" y="22"/>
                  </a:lnTo>
                  <a:lnTo>
                    <a:pt x="21" y="99"/>
                  </a:lnTo>
                  <a:lnTo>
                    <a:pt x="10" y="104"/>
                  </a:lnTo>
                  <a:lnTo>
                    <a:pt x="0" y="109"/>
                  </a:lnTo>
                  <a:close/>
                </a:path>
              </a:pathLst>
            </a:custGeom>
            <a:solidFill>
              <a:srgbClr val="EBD3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38" name="Freeform 319">
              <a:extLst>
                <a:ext uri="{FF2B5EF4-FFF2-40B4-BE49-F238E27FC236}">
                  <a16:creationId xmlns:a16="http://schemas.microsoft.com/office/drawing/2014/main" id="{894B4351-1BFD-01C8-4686-AF75D80299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063" y="2159000"/>
              <a:ext cx="612775" cy="503238"/>
            </a:xfrm>
            <a:custGeom>
              <a:avLst/>
              <a:gdLst>
                <a:gd name="T0" fmla="*/ 36 w 1544"/>
                <a:gd name="T1" fmla="*/ 1269 h 1269"/>
                <a:gd name="T2" fmla="*/ 0 w 1544"/>
                <a:gd name="T3" fmla="*/ 1225 h 1269"/>
                <a:gd name="T4" fmla="*/ 0 w 1544"/>
                <a:gd name="T5" fmla="*/ 1216 h 1269"/>
                <a:gd name="T6" fmla="*/ 21 w 1544"/>
                <a:gd name="T7" fmla="*/ 1199 h 1269"/>
                <a:gd name="T8" fmla="*/ 117 w 1544"/>
                <a:gd name="T9" fmla="*/ 1122 h 1269"/>
                <a:gd name="T10" fmla="*/ 1456 w 1544"/>
                <a:gd name="T11" fmla="*/ 54 h 1269"/>
                <a:gd name="T12" fmla="*/ 1478 w 1544"/>
                <a:gd name="T13" fmla="*/ 36 h 1269"/>
                <a:gd name="T14" fmla="*/ 1524 w 1544"/>
                <a:gd name="T15" fmla="*/ 0 h 1269"/>
                <a:gd name="T16" fmla="*/ 1544 w 1544"/>
                <a:gd name="T17" fmla="*/ 26 h 1269"/>
                <a:gd name="T18" fmla="*/ 1478 w 1544"/>
                <a:gd name="T19" fmla="*/ 80 h 1269"/>
                <a:gd name="T20" fmla="*/ 1456 w 1544"/>
                <a:gd name="T21" fmla="*/ 98 h 1269"/>
                <a:gd name="T22" fmla="*/ 187 w 1544"/>
                <a:gd name="T23" fmla="*/ 1146 h 1269"/>
                <a:gd name="T24" fmla="*/ 183 w 1544"/>
                <a:gd name="T25" fmla="*/ 1138 h 1269"/>
                <a:gd name="T26" fmla="*/ 179 w 1544"/>
                <a:gd name="T27" fmla="*/ 1133 h 1269"/>
                <a:gd name="T28" fmla="*/ 171 w 1544"/>
                <a:gd name="T29" fmla="*/ 1125 h 1269"/>
                <a:gd name="T30" fmla="*/ 156 w 1544"/>
                <a:gd name="T31" fmla="*/ 1124 h 1269"/>
                <a:gd name="T32" fmla="*/ 144 w 1544"/>
                <a:gd name="T33" fmla="*/ 1125 h 1269"/>
                <a:gd name="T34" fmla="*/ 131 w 1544"/>
                <a:gd name="T35" fmla="*/ 1126 h 1269"/>
                <a:gd name="T36" fmla="*/ 119 w 1544"/>
                <a:gd name="T37" fmla="*/ 1137 h 1269"/>
                <a:gd name="T38" fmla="*/ 103 w 1544"/>
                <a:gd name="T39" fmla="*/ 1159 h 1269"/>
                <a:gd name="T40" fmla="*/ 88 w 1544"/>
                <a:gd name="T41" fmla="*/ 1197 h 1269"/>
                <a:gd name="T42" fmla="*/ 87 w 1544"/>
                <a:gd name="T43" fmla="*/ 1227 h 1269"/>
                <a:gd name="T44" fmla="*/ 36 w 1544"/>
                <a:gd name="T45" fmla="*/ 1269 h 1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44" h="1269">
                  <a:moveTo>
                    <a:pt x="36" y="1269"/>
                  </a:moveTo>
                  <a:lnTo>
                    <a:pt x="0" y="1225"/>
                  </a:lnTo>
                  <a:lnTo>
                    <a:pt x="0" y="1216"/>
                  </a:lnTo>
                  <a:lnTo>
                    <a:pt x="21" y="1199"/>
                  </a:lnTo>
                  <a:lnTo>
                    <a:pt x="117" y="1122"/>
                  </a:lnTo>
                  <a:lnTo>
                    <a:pt x="1456" y="54"/>
                  </a:lnTo>
                  <a:lnTo>
                    <a:pt x="1478" y="36"/>
                  </a:lnTo>
                  <a:lnTo>
                    <a:pt x="1524" y="0"/>
                  </a:lnTo>
                  <a:lnTo>
                    <a:pt x="1544" y="26"/>
                  </a:lnTo>
                  <a:lnTo>
                    <a:pt x="1478" y="80"/>
                  </a:lnTo>
                  <a:lnTo>
                    <a:pt x="1456" y="98"/>
                  </a:lnTo>
                  <a:lnTo>
                    <a:pt x="187" y="1146"/>
                  </a:lnTo>
                  <a:lnTo>
                    <a:pt x="183" y="1138"/>
                  </a:lnTo>
                  <a:lnTo>
                    <a:pt x="179" y="1133"/>
                  </a:lnTo>
                  <a:lnTo>
                    <a:pt x="171" y="1125"/>
                  </a:lnTo>
                  <a:lnTo>
                    <a:pt x="156" y="1124"/>
                  </a:lnTo>
                  <a:lnTo>
                    <a:pt x="144" y="1125"/>
                  </a:lnTo>
                  <a:lnTo>
                    <a:pt x="131" y="1126"/>
                  </a:lnTo>
                  <a:lnTo>
                    <a:pt x="119" y="1137"/>
                  </a:lnTo>
                  <a:lnTo>
                    <a:pt x="103" y="1159"/>
                  </a:lnTo>
                  <a:lnTo>
                    <a:pt x="88" y="1197"/>
                  </a:lnTo>
                  <a:lnTo>
                    <a:pt x="87" y="1227"/>
                  </a:lnTo>
                  <a:lnTo>
                    <a:pt x="36" y="126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  <p:sp>
          <p:nvSpPr>
            <p:cNvPr id="139" name="Freeform 320">
              <a:extLst>
                <a:ext uri="{FF2B5EF4-FFF2-40B4-BE49-F238E27FC236}">
                  <a16:creationId xmlns:a16="http://schemas.microsoft.com/office/drawing/2014/main" id="{213C8EBB-5B46-2E6C-3F2F-277C7BD1AE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1400" y="2605088"/>
              <a:ext cx="57150" cy="133350"/>
            </a:xfrm>
            <a:custGeom>
              <a:avLst/>
              <a:gdLst>
                <a:gd name="T0" fmla="*/ 51 w 144"/>
                <a:gd name="T1" fmla="*/ 334 h 334"/>
                <a:gd name="T2" fmla="*/ 40 w 144"/>
                <a:gd name="T3" fmla="*/ 330 h 334"/>
                <a:gd name="T4" fmla="*/ 26 w 144"/>
                <a:gd name="T5" fmla="*/ 317 h 334"/>
                <a:gd name="T6" fmla="*/ 25 w 144"/>
                <a:gd name="T7" fmla="*/ 305 h 334"/>
                <a:gd name="T8" fmla="*/ 21 w 144"/>
                <a:gd name="T9" fmla="*/ 259 h 334"/>
                <a:gd name="T10" fmla="*/ 3 w 144"/>
                <a:gd name="T11" fmla="*/ 154 h 334"/>
                <a:gd name="T12" fmla="*/ 0 w 144"/>
                <a:gd name="T13" fmla="*/ 103 h 334"/>
                <a:gd name="T14" fmla="*/ 1 w 144"/>
                <a:gd name="T15" fmla="*/ 73 h 334"/>
                <a:gd name="T16" fmla="*/ 16 w 144"/>
                <a:gd name="T17" fmla="*/ 35 h 334"/>
                <a:gd name="T18" fmla="*/ 32 w 144"/>
                <a:gd name="T19" fmla="*/ 13 h 334"/>
                <a:gd name="T20" fmla="*/ 44 w 144"/>
                <a:gd name="T21" fmla="*/ 2 h 334"/>
                <a:gd name="T22" fmla="*/ 57 w 144"/>
                <a:gd name="T23" fmla="*/ 1 h 334"/>
                <a:gd name="T24" fmla="*/ 69 w 144"/>
                <a:gd name="T25" fmla="*/ 0 h 334"/>
                <a:gd name="T26" fmla="*/ 84 w 144"/>
                <a:gd name="T27" fmla="*/ 1 h 334"/>
                <a:gd name="T28" fmla="*/ 92 w 144"/>
                <a:gd name="T29" fmla="*/ 9 h 334"/>
                <a:gd name="T30" fmla="*/ 96 w 144"/>
                <a:gd name="T31" fmla="*/ 14 h 334"/>
                <a:gd name="T32" fmla="*/ 100 w 144"/>
                <a:gd name="T33" fmla="*/ 22 h 334"/>
                <a:gd name="T34" fmla="*/ 102 w 144"/>
                <a:gd name="T35" fmla="*/ 26 h 334"/>
                <a:gd name="T36" fmla="*/ 105 w 144"/>
                <a:gd name="T37" fmla="*/ 32 h 334"/>
                <a:gd name="T38" fmla="*/ 119 w 144"/>
                <a:gd name="T39" fmla="*/ 70 h 334"/>
                <a:gd name="T40" fmla="*/ 141 w 144"/>
                <a:gd name="T41" fmla="*/ 171 h 334"/>
                <a:gd name="T42" fmla="*/ 144 w 144"/>
                <a:gd name="T43" fmla="*/ 221 h 334"/>
                <a:gd name="T44" fmla="*/ 143 w 144"/>
                <a:gd name="T45" fmla="*/ 251 h 334"/>
                <a:gd name="T46" fmla="*/ 137 w 144"/>
                <a:gd name="T47" fmla="*/ 277 h 334"/>
                <a:gd name="T48" fmla="*/ 88 w 144"/>
                <a:gd name="T49" fmla="*/ 312 h 334"/>
                <a:gd name="T50" fmla="*/ 51 w 144"/>
                <a:gd name="T51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4" h="334">
                  <a:moveTo>
                    <a:pt x="51" y="334"/>
                  </a:moveTo>
                  <a:lnTo>
                    <a:pt x="40" y="330"/>
                  </a:lnTo>
                  <a:lnTo>
                    <a:pt x="26" y="317"/>
                  </a:lnTo>
                  <a:lnTo>
                    <a:pt x="25" y="305"/>
                  </a:lnTo>
                  <a:lnTo>
                    <a:pt x="21" y="259"/>
                  </a:lnTo>
                  <a:lnTo>
                    <a:pt x="3" y="154"/>
                  </a:lnTo>
                  <a:lnTo>
                    <a:pt x="0" y="103"/>
                  </a:lnTo>
                  <a:lnTo>
                    <a:pt x="1" y="73"/>
                  </a:lnTo>
                  <a:lnTo>
                    <a:pt x="16" y="35"/>
                  </a:lnTo>
                  <a:lnTo>
                    <a:pt x="32" y="13"/>
                  </a:lnTo>
                  <a:lnTo>
                    <a:pt x="44" y="2"/>
                  </a:lnTo>
                  <a:lnTo>
                    <a:pt x="57" y="1"/>
                  </a:lnTo>
                  <a:lnTo>
                    <a:pt x="69" y="0"/>
                  </a:lnTo>
                  <a:lnTo>
                    <a:pt x="84" y="1"/>
                  </a:lnTo>
                  <a:lnTo>
                    <a:pt x="92" y="9"/>
                  </a:lnTo>
                  <a:lnTo>
                    <a:pt x="96" y="14"/>
                  </a:lnTo>
                  <a:lnTo>
                    <a:pt x="100" y="22"/>
                  </a:lnTo>
                  <a:lnTo>
                    <a:pt x="102" y="26"/>
                  </a:lnTo>
                  <a:lnTo>
                    <a:pt x="105" y="32"/>
                  </a:lnTo>
                  <a:lnTo>
                    <a:pt x="119" y="70"/>
                  </a:lnTo>
                  <a:lnTo>
                    <a:pt x="141" y="171"/>
                  </a:lnTo>
                  <a:lnTo>
                    <a:pt x="144" y="221"/>
                  </a:lnTo>
                  <a:lnTo>
                    <a:pt x="143" y="251"/>
                  </a:lnTo>
                  <a:lnTo>
                    <a:pt x="137" y="277"/>
                  </a:lnTo>
                  <a:lnTo>
                    <a:pt x="88" y="312"/>
                  </a:lnTo>
                  <a:lnTo>
                    <a:pt x="51" y="334"/>
                  </a:lnTo>
                  <a:close/>
                </a:path>
              </a:pathLst>
            </a:custGeom>
            <a:solidFill>
              <a:srgbClr val="E9C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350">
                <a:latin typeface="+mj-lt"/>
              </a:endParaRPr>
            </a:p>
          </p:txBody>
        </p:sp>
      </p:grpSp>
      <p:sp>
        <p:nvSpPr>
          <p:cNvPr id="4" name="TextBox 76">
            <a:extLst>
              <a:ext uri="{FF2B5EF4-FFF2-40B4-BE49-F238E27FC236}">
                <a16:creationId xmlns:a16="http://schemas.microsoft.com/office/drawing/2014/main" id="{C476531B-959D-EB5E-99D4-7B7FD2BE9CB1}"/>
              </a:ext>
            </a:extLst>
          </p:cNvPr>
          <p:cNvSpPr txBox="1"/>
          <p:nvPr/>
        </p:nvSpPr>
        <p:spPr>
          <a:xfrm>
            <a:off x="4680674" y="4584045"/>
            <a:ext cx="1688281" cy="56169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txBody>
          <a:bodyPr wrap="none" lIns="34289" tIns="34289" rIns="34289" bIns="34289" numCol="1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3200" b="1"/>
              <a:t>Next step</a:t>
            </a:r>
          </a:p>
        </p:txBody>
      </p:sp>
      <p:sp>
        <p:nvSpPr>
          <p:cNvPr id="6" name="Shape 282">
            <a:extLst>
              <a:ext uri="{FF2B5EF4-FFF2-40B4-BE49-F238E27FC236}">
                <a16:creationId xmlns:a16="http://schemas.microsoft.com/office/drawing/2014/main" id="{F6255036-623B-D902-6CE3-037B185A78E8}"/>
              </a:ext>
            </a:extLst>
          </p:cNvPr>
          <p:cNvSpPr/>
          <p:nvPr/>
        </p:nvSpPr>
        <p:spPr>
          <a:xfrm>
            <a:off x="3847882" y="4673369"/>
            <a:ext cx="537823" cy="537823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34289" tIns="34289" rIns="34289" bIns="34289" numCol="1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>
                <a:solidFill>
                  <a:srgbClr val="FFFFFF"/>
                </a:solidFill>
              </a:defRPr>
            </a:pPr>
            <a:r>
              <a:rPr lang="en-US" sz="2400" b="1">
                <a:latin typeface="+mj-lt"/>
              </a:rPr>
              <a:t>04</a:t>
            </a:r>
            <a:endParaRPr sz="2400" b="1">
              <a:latin typeface="+mj-lt"/>
            </a:endParaRPr>
          </a:p>
        </p:txBody>
      </p:sp>
      <p:sp>
        <p:nvSpPr>
          <p:cNvPr id="7" name="TextBox 76">
            <a:extLst>
              <a:ext uri="{FF2B5EF4-FFF2-40B4-BE49-F238E27FC236}">
                <a16:creationId xmlns:a16="http://schemas.microsoft.com/office/drawing/2014/main" id="{0D1DA89E-E0F5-0CFC-A8BC-A0FF05C2333D}"/>
              </a:ext>
            </a:extLst>
          </p:cNvPr>
          <p:cNvSpPr txBox="1"/>
          <p:nvPr/>
        </p:nvSpPr>
        <p:spPr>
          <a:xfrm>
            <a:off x="4668333" y="3659095"/>
            <a:ext cx="4129655" cy="56169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txBody>
          <a:bodyPr wrap="none" lIns="34289" tIns="34289" rIns="34289" bIns="34289" numCol="1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3200" b="1"/>
              <a:t>Pricing des options/CDS</a:t>
            </a:r>
          </a:p>
        </p:txBody>
      </p:sp>
      <p:sp>
        <p:nvSpPr>
          <p:cNvPr id="8" name="TextBox 76">
            <a:extLst>
              <a:ext uri="{FF2B5EF4-FFF2-40B4-BE49-F238E27FC236}">
                <a16:creationId xmlns:a16="http://schemas.microsoft.com/office/drawing/2014/main" id="{855C9D92-99DC-5507-E013-F2F7D3D2DD3E}"/>
              </a:ext>
            </a:extLst>
          </p:cNvPr>
          <p:cNvSpPr txBox="1"/>
          <p:nvPr/>
        </p:nvSpPr>
        <p:spPr>
          <a:xfrm>
            <a:off x="4668333" y="2694712"/>
            <a:ext cx="3938640" cy="56169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txBody>
          <a:bodyPr wrap="none" lIns="34289" tIns="34289" rIns="34289" bIns="34289" numCol="1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3200" b="1"/>
              <a:t>Environment de travail</a:t>
            </a:r>
          </a:p>
        </p:txBody>
      </p:sp>
      <p:sp>
        <p:nvSpPr>
          <p:cNvPr id="9" name="TextBox 76">
            <a:extLst>
              <a:ext uri="{FF2B5EF4-FFF2-40B4-BE49-F238E27FC236}">
                <a16:creationId xmlns:a16="http://schemas.microsoft.com/office/drawing/2014/main" id="{58C5BE8D-C334-8F74-48C6-5797812FC776}"/>
              </a:ext>
            </a:extLst>
          </p:cNvPr>
          <p:cNvSpPr txBox="1"/>
          <p:nvPr/>
        </p:nvSpPr>
        <p:spPr>
          <a:xfrm>
            <a:off x="4680674" y="1830277"/>
            <a:ext cx="3197476" cy="56169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txBody>
          <a:bodyPr wrap="none" lIns="34289" tIns="34289" rIns="34289" bIns="34289" numCol="1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3200" b="1" dirty="0" err="1"/>
              <a:t>Objectifs</a:t>
            </a:r>
            <a:r>
              <a:rPr lang="en-US" sz="3200" b="1" dirty="0"/>
              <a:t> du </a:t>
            </a:r>
            <a:r>
              <a:rPr lang="en-US" sz="3200" b="1" dirty="0" err="1"/>
              <a:t>pricer</a:t>
            </a:r>
            <a:endParaRPr lang="en-US" sz="3200" b="1" dirty="0" err="1">
              <a:cs typeface="Calibri"/>
            </a:endParaRPr>
          </a:p>
        </p:txBody>
      </p:sp>
      <p:sp>
        <p:nvSpPr>
          <p:cNvPr id="11" name="Shape 270">
            <a:extLst>
              <a:ext uri="{FF2B5EF4-FFF2-40B4-BE49-F238E27FC236}">
                <a16:creationId xmlns:a16="http://schemas.microsoft.com/office/drawing/2014/main" id="{7702B92D-F949-3767-4650-69C27F17A517}"/>
              </a:ext>
            </a:extLst>
          </p:cNvPr>
          <p:cNvSpPr/>
          <p:nvPr/>
        </p:nvSpPr>
        <p:spPr>
          <a:xfrm>
            <a:off x="3847881" y="1879148"/>
            <a:ext cx="537823" cy="537823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34289" tIns="34289" rIns="34289" bIns="34289" numCol="1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>
                <a:solidFill>
                  <a:srgbClr val="FFFFFF"/>
                </a:solidFill>
              </a:defRPr>
            </a:pPr>
            <a:r>
              <a:rPr lang="en-US" sz="2400" b="1">
                <a:latin typeface="+mj-lt"/>
              </a:rPr>
              <a:t>01</a:t>
            </a:r>
            <a:endParaRPr sz="2400" b="1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727086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2FAD1654-1E1B-42F8-ED3E-8EB66C81D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740" y="160020"/>
            <a:ext cx="10581860" cy="720000"/>
          </a:xfrm>
        </p:spPr>
        <p:txBody>
          <a:bodyPr>
            <a:normAutofit/>
          </a:bodyPr>
          <a:lstStyle/>
          <a:p>
            <a:r>
              <a:rPr lang="en-GB" sz="2400" b="1" cap="small" err="1">
                <a:solidFill>
                  <a:schemeClr val="tx1">
                    <a:lumMod val="95000"/>
                    <a:lumOff val="5000"/>
                  </a:schemeClr>
                </a:solidFill>
              </a:rPr>
              <a:t>Objectifs</a:t>
            </a:r>
            <a:r>
              <a:rPr lang="en-GB" sz="2400" b="1" cap="small">
                <a:solidFill>
                  <a:schemeClr val="tx1">
                    <a:lumMod val="95000"/>
                    <a:lumOff val="5000"/>
                  </a:schemeClr>
                </a:solidFill>
              </a:rPr>
              <a:t> du pricer</a:t>
            </a:r>
            <a:endParaRPr lang="fr-FR" sz="2400" b="1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EE895D49-5D2A-D416-A42B-246EBCDF487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156856" y="1534997"/>
            <a:ext cx="8171764" cy="4875133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342900" indent="-342900">
              <a:buFont typeface="+mj-lt"/>
              <a:buAutoNum type="arabicParenR"/>
            </a:pPr>
            <a:r>
              <a:rPr lang="fr-FR" sz="2400" dirty="0"/>
              <a:t> Montée en compétence pour les inter-contrat sur :</a:t>
            </a:r>
          </a:p>
          <a:p>
            <a:pPr marL="800100" lvl="1" indent="-342900">
              <a:buFont typeface="+mj-lt"/>
              <a:buAutoNum type="alphaLcParenR"/>
            </a:pPr>
            <a:r>
              <a:rPr lang="fr-FR" sz="2400" dirty="0"/>
              <a:t>Les instruments financiers</a:t>
            </a:r>
            <a:endParaRPr lang="fr-FR" sz="2400" dirty="0">
              <a:cs typeface="Calibri"/>
            </a:endParaRPr>
          </a:p>
          <a:p>
            <a:pPr marL="800100" lvl="1" indent="-342900">
              <a:buFont typeface="+mj-lt"/>
              <a:buAutoNum type="alphaLcParenR"/>
            </a:pPr>
            <a:r>
              <a:rPr lang="fr-FR" sz="2400" dirty="0"/>
              <a:t>Pricing des produits dérivés</a:t>
            </a:r>
            <a:endParaRPr lang="fr-FR" sz="2400" dirty="0">
              <a:cs typeface="Calibri"/>
            </a:endParaRPr>
          </a:p>
          <a:p>
            <a:pPr marL="800100" lvl="1" indent="-342900">
              <a:buFont typeface="+mj-lt"/>
              <a:buAutoNum type="alphaLcParenR"/>
            </a:pPr>
            <a:r>
              <a:rPr lang="fr-FR" sz="2400" dirty="0"/>
              <a:t>Méthodes de pricing</a:t>
            </a:r>
          </a:p>
          <a:p>
            <a:pPr marL="342900" indent="-342900">
              <a:buFont typeface="+mj-lt"/>
              <a:buAutoNum type="arabicParenR"/>
            </a:pPr>
            <a:r>
              <a:rPr lang="fr-FR" sz="2400" dirty="0"/>
              <a:t>Espace de travail pour les futurs stagiaires</a:t>
            </a:r>
            <a:endParaRPr lang="fr-FR" sz="2400" dirty="0">
              <a:cs typeface="Calibri"/>
            </a:endParaRPr>
          </a:p>
          <a:p>
            <a:pPr marL="800100" lvl="1" indent="-342900">
              <a:buFont typeface="+mj-lt"/>
              <a:buAutoNum type="alphaLcParenR"/>
            </a:pPr>
            <a:r>
              <a:rPr lang="fr-FR" sz="2400" dirty="0"/>
              <a:t>Environnement de travail </a:t>
            </a:r>
            <a:r>
              <a:rPr lang="fr-FR" sz="2400"/>
              <a:t>et de développement</a:t>
            </a:r>
            <a:endParaRPr lang="fr-FR" sz="2400" dirty="0">
              <a:cs typeface="Calibri"/>
            </a:endParaRPr>
          </a:p>
          <a:p>
            <a:pPr marL="57150" indent="-342900">
              <a:buFont typeface="+mj-lt"/>
              <a:buAutoNum type="arabicParenR"/>
            </a:pPr>
            <a:r>
              <a:rPr lang="fr-FR" sz="2400" dirty="0"/>
              <a:t>Documentation </a:t>
            </a:r>
          </a:p>
          <a:p>
            <a:pPr marL="800100" lvl="1" indent="-342900">
              <a:buFont typeface="+mj-lt"/>
              <a:buAutoNum type="alphaLcParenR"/>
            </a:pPr>
            <a:r>
              <a:rPr lang="fr-FR" sz="2400" dirty="0"/>
              <a:t>Documenter la structure du code de la librairie </a:t>
            </a:r>
          </a:p>
          <a:p>
            <a:pPr marL="800100" lvl="1" indent="-342900">
              <a:buFont typeface="+mj-lt"/>
              <a:buAutoNum type="alphaLcParenR"/>
            </a:pPr>
            <a:r>
              <a:rPr lang="fr-FR" sz="2400" dirty="0"/>
              <a:t>Documenter la méthodologie utilisée pour le pricing de chaque produit dérivé</a:t>
            </a:r>
          </a:p>
          <a:p>
            <a:pPr marL="914400" lvl="1" indent="-457200">
              <a:buFont typeface="+mj-lt"/>
              <a:buAutoNum type="alphaLcParenR"/>
            </a:pPr>
            <a:endParaRPr lang="fr-FR" sz="2400" dirty="0">
              <a:cs typeface="Calibri"/>
            </a:endParaRPr>
          </a:p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4549981-6B74-D9F8-E544-853C13497F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7D9236-8631-4EC5-863A-395526DEF969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52070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Image 32" descr="Une image contenant clipart, dessin humoristique, illustration&#10;&#10;Description générée automatiquement">
            <a:extLst>
              <a:ext uri="{FF2B5EF4-FFF2-40B4-BE49-F238E27FC236}">
                <a16:creationId xmlns:a16="http://schemas.microsoft.com/office/drawing/2014/main" id="{CE41696E-3853-C142-F600-329BFD15A18E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8942" y="3622056"/>
            <a:ext cx="3098012" cy="232103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B340E6D9-44AA-6AB5-0F07-60256CE35EDE}"/>
              </a:ext>
            </a:extLst>
          </p:cNvPr>
          <p:cNvSpPr txBox="1"/>
          <p:nvPr/>
        </p:nvSpPr>
        <p:spPr>
          <a:xfrm>
            <a:off x="1598213" y="0"/>
            <a:ext cx="301329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 LEVEL REVIEW OF PROJECT FINANCING </a:t>
            </a:r>
          </a:p>
        </p:txBody>
      </p:sp>
      <p:sp>
        <p:nvSpPr>
          <p:cNvPr id="9" name="Titre 2">
            <a:extLst>
              <a:ext uri="{FF2B5EF4-FFF2-40B4-BE49-F238E27FC236}">
                <a16:creationId xmlns:a16="http://schemas.microsoft.com/office/drawing/2014/main" id="{5136A549-C8A8-E827-61FD-714AD3EF6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9451"/>
            <a:ext cx="10581860" cy="720000"/>
          </a:xfrm>
        </p:spPr>
        <p:txBody>
          <a:bodyPr>
            <a:normAutofit/>
          </a:bodyPr>
          <a:lstStyle/>
          <a:p>
            <a:r>
              <a:rPr lang="en-GB" sz="2400" b="1" cap="small">
                <a:solidFill>
                  <a:schemeClr val="tx1">
                    <a:lumMod val="95000"/>
                    <a:lumOff val="5000"/>
                  </a:schemeClr>
                </a:solidFill>
              </a:rPr>
              <a:t>Environment de travail</a:t>
            </a:r>
            <a:endParaRPr lang="en-GB" sz="2200" b="1" cap="small">
              <a:solidFill>
                <a:schemeClr val="accent2"/>
              </a:solidFill>
            </a:endParaRPr>
          </a:p>
        </p:txBody>
      </p:sp>
      <p:pic>
        <p:nvPicPr>
          <p:cNvPr id="37" name="Graphique 36" descr="Badge 1 avec un remplissage uni">
            <a:extLst>
              <a:ext uri="{FF2B5EF4-FFF2-40B4-BE49-F238E27FC236}">
                <a16:creationId xmlns:a16="http://schemas.microsoft.com/office/drawing/2014/main" id="{5B111208-0B8C-52D0-9CB9-26F2C5E7875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86001" y="-1352476"/>
            <a:ext cx="163049" cy="163049"/>
          </a:xfrm>
          <a:prstGeom prst="rect">
            <a:avLst/>
          </a:prstGeom>
        </p:spPr>
      </p:pic>
      <p:pic>
        <p:nvPicPr>
          <p:cNvPr id="1027" name="Picture 3">
            <a:hlinkClick r:id="rId6"/>
            <a:extLst>
              <a:ext uri="{FF2B5EF4-FFF2-40B4-BE49-F238E27FC236}">
                <a16:creationId xmlns:a16="http://schemas.microsoft.com/office/drawing/2014/main" id="{862B73E8-08F8-C1E0-53CE-12A5254433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5663" y="-14636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45">
            <a:extLst>
              <a:ext uri="{FF2B5EF4-FFF2-40B4-BE49-F238E27FC236}">
                <a16:creationId xmlns:a16="http://schemas.microsoft.com/office/drawing/2014/main" id="{A7CEE093-801E-AA44-BE37-38EF362C3439}"/>
              </a:ext>
            </a:extLst>
          </p:cNvPr>
          <p:cNvGrpSpPr/>
          <p:nvPr/>
        </p:nvGrpSpPr>
        <p:grpSpPr>
          <a:xfrm>
            <a:off x="2386218" y="4192120"/>
            <a:ext cx="2584245" cy="586831"/>
            <a:chOff x="319755" y="4412302"/>
            <a:chExt cx="2088993" cy="586831"/>
          </a:xfrm>
        </p:grpSpPr>
        <p:sp>
          <p:nvSpPr>
            <p:cNvPr id="27" name="TextBox 46">
              <a:extLst>
                <a:ext uri="{FF2B5EF4-FFF2-40B4-BE49-F238E27FC236}">
                  <a16:creationId xmlns:a16="http://schemas.microsoft.com/office/drawing/2014/main" id="{777B77CE-697F-B543-8361-4E0F583C3824}"/>
                </a:ext>
              </a:extLst>
            </p:cNvPr>
            <p:cNvSpPr txBox="1"/>
            <p:nvPr/>
          </p:nvSpPr>
          <p:spPr>
            <a:xfrm>
              <a:off x="319755" y="4412302"/>
              <a:ext cx="2088993" cy="369332"/>
            </a:xfrm>
            <a:prstGeom prst="rect">
              <a:avLst/>
            </a:prstGeom>
            <a:noFill/>
          </p:spPr>
          <p:txBody>
            <a:bodyPr wrap="square" lIns="0" rtlCol="0" anchor="b">
              <a:spAutoFit/>
            </a:bodyPr>
            <a:lstStyle>
              <a:defPPr>
                <a:defRPr lang="fr-FR"/>
              </a:defPPr>
              <a:lvl1pPr marL="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4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="1" noProof="1">
                  <a:solidFill>
                    <a:schemeClr val="accent1"/>
                  </a:solidFill>
                </a:rPr>
                <a:t>Git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2D02A31-3480-0D4F-BC4D-71C385271D83}"/>
                </a:ext>
              </a:extLst>
            </p:cNvPr>
            <p:cNvSpPr/>
            <p:nvPr/>
          </p:nvSpPr>
          <p:spPr>
            <a:xfrm>
              <a:off x="319755" y="4722134"/>
              <a:ext cx="2088993" cy="276999"/>
            </a:xfrm>
            <a:prstGeom prst="rect">
              <a:avLst/>
            </a:prstGeom>
          </p:spPr>
          <p:txBody>
            <a:bodyPr wrap="square" lIns="0">
              <a:spAutoFit/>
            </a:bodyPr>
            <a:lstStyle>
              <a:defPPr>
                <a:defRPr lang="fr-FR"/>
              </a:defPPr>
              <a:lvl1pPr marL="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4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1200"/>
                </a:spcBef>
              </a:pPr>
              <a:r>
                <a:rPr lang="en-US" sz="1200" noProof="1"/>
                <a:t>Installation de Git et de Git extension pour une meilleur structure</a:t>
              </a:r>
            </a:p>
          </p:txBody>
        </p:sp>
      </p:grpSp>
      <p:grpSp>
        <p:nvGrpSpPr>
          <p:cNvPr id="4" name="Group 81">
            <a:extLst>
              <a:ext uri="{FF2B5EF4-FFF2-40B4-BE49-F238E27FC236}">
                <a16:creationId xmlns:a16="http://schemas.microsoft.com/office/drawing/2014/main" id="{392AA420-F8F0-E74A-B5A5-1A02B28D31FB}"/>
              </a:ext>
            </a:extLst>
          </p:cNvPr>
          <p:cNvGrpSpPr/>
          <p:nvPr/>
        </p:nvGrpSpPr>
        <p:grpSpPr>
          <a:xfrm>
            <a:off x="2809809" y="3502909"/>
            <a:ext cx="2584245" cy="629813"/>
            <a:chOff x="319755" y="4412302"/>
            <a:chExt cx="2088994" cy="629813"/>
          </a:xfrm>
        </p:grpSpPr>
        <p:sp>
          <p:nvSpPr>
            <p:cNvPr id="25" name="TextBox 82">
              <a:extLst>
                <a:ext uri="{FF2B5EF4-FFF2-40B4-BE49-F238E27FC236}">
                  <a16:creationId xmlns:a16="http://schemas.microsoft.com/office/drawing/2014/main" id="{23D922DF-E1EA-D144-8338-636CA87FBBAA}"/>
                </a:ext>
              </a:extLst>
            </p:cNvPr>
            <p:cNvSpPr txBox="1"/>
            <p:nvPr/>
          </p:nvSpPr>
          <p:spPr>
            <a:xfrm>
              <a:off x="319755" y="4412302"/>
              <a:ext cx="2088993" cy="369332"/>
            </a:xfrm>
            <a:prstGeom prst="rect">
              <a:avLst/>
            </a:prstGeom>
            <a:noFill/>
          </p:spPr>
          <p:txBody>
            <a:bodyPr wrap="square" lIns="0" rtlCol="0" anchor="b">
              <a:spAutoFit/>
            </a:bodyPr>
            <a:lstStyle>
              <a:defPPr>
                <a:defRPr lang="fr-FR"/>
              </a:defPPr>
              <a:lvl1pPr marL="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4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="1" noProof="1">
                  <a:solidFill>
                    <a:schemeClr val="accent2"/>
                  </a:solidFill>
                </a:rPr>
                <a:t>Python 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FF23642-7B94-A246-8B98-487C3D28880D}"/>
                </a:ext>
              </a:extLst>
            </p:cNvPr>
            <p:cNvSpPr/>
            <p:nvPr/>
          </p:nvSpPr>
          <p:spPr>
            <a:xfrm>
              <a:off x="319756" y="4765116"/>
              <a:ext cx="2088993" cy="276999"/>
            </a:xfrm>
            <a:prstGeom prst="rect">
              <a:avLst/>
            </a:prstGeom>
          </p:spPr>
          <p:txBody>
            <a:bodyPr wrap="square" lIns="0">
              <a:spAutoFit/>
            </a:bodyPr>
            <a:lstStyle>
              <a:defPPr>
                <a:defRPr lang="fr-FR"/>
              </a:defPPr>
              <a:lvl1pPr marL="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4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1200"/>
                </a:spcBef>
              </a:pPr>
              <a:r>
                <a:rPr lang="en-US" sz="1200" noProof="1"/>
                <a:t>Installation et execution </a:t>
              </a:r>
            </a:p>
          </p:txBody>
        </p:sp>
      </p:grpSp>
      <p:grpSp>
        <p:nvGrpSpPr>
          <p:cNvPr id="5" name="Group 84">
            <a:extLst>
              <a:ext uri="{FF2B5EF4-FFF2-40B4-BE49-F238E27FC236}">
                <a16:creationId xmlns:a16="http://schemas.microsoft.com/office/drawing/2014/main" id="{2F9EDED2-D126-6341-AA78-A3742E36437F}"/>
              </a:ext>
            </a:extLst>
          </p:cNvPr>
          <p:cNvGrpSpPr/>
          <p:nvPr/>
        </p:nvGrpSpPr>
        <p:grpSpPr>
          <a:xfrm>
            <a:off x="2978948" y="2844798"/>
            <a:ext cx="4461196" cy="629813"/>
            <a:chOff x="319755" y="4412302"/>
            <a:chExt cx="2088994" cy="629813"/>
          </a:xfrm>
        </p:grpSpPr>
        <p:sp>
          <p:nvSpPr>
            <p:cNvPr id="23" name="TextBox 85">
              <a:extLst>
                <a:ext uri="{FF2B5EF4-FFF2-40B4-BE49-F238E27FC236}">
                  <a16:creationId xmlns:a16="http://schemas.microsoft.com/office/drawing/2014/main" id="{84EC6CCD-21C7-7E46-863D-CEB2FBE931EB}"/>
                </a:ext>
              </a:extLst>
            </p:cNvPr>
            <p:cNvSpPr txBox="1"/>
            <p:nvPr/>
          </p:nvSpPr>
          <p:spPr>
            <a:xfrm>
              <a:off x="319755" y="4412302"/>
              <a:ext cx="2088993" cy="369332"/>
            </a:xfrm>
            <a:prstGeom prst="rect">
              <a:avLst/>
            </a:prstGeom>
            <a:noFill/>
          </p:spPr>
          <p:txBody>
            <a:bodyPr wrap="square" lIns="0" rtlCol="0" anchor="b">
              <a:spAutoFit/>
            </a:bodyPr>
            <a:lstStyle>
              <a:defPPr>
                <a:defRPr lang="fr-FR"/>
              </a:defPPr>
              <a:lvl1pPr marL="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4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="1" noProof="1">
                  <a:solidFill>
                    <a:schemeClr val="accent5"/>
                  </a:solidFill>
                </a:rPr>
                <a:t>Visual Studio (VS)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0F5947A-28AF-614D-807B-4B00CB36943F}"/>
                </a:ext>
              </a:extLst>
            </p:cNvPr>
            <p:cNvSpPr/>
            <p:nvPr/>
          </p:nvSpPr>
          <p:spPr>
            <a:xfrm>
              <a:off x="319756" y="4765116"/>
              <a:ext cx="2088993" cy="276999"/>
            </a:xfrm>
            <a:prstGeom prst="rect">
              <a:avLst/>
            </a:prstGeom>
          </p:spPr>
          <p:txBody>
            <a:bodyPr wrap="square" lIns="0">
              <a:spAutoFit/>
            </a:bodyPr>
            <a:lstStyle>
              <a:defPPr>
                <a:defRPr lang="fr-FR"/>
              </a:defPPr>
              <a:lvl1pPr marL="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4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1200"/>
                </a:spcBef>
              </a:pPr>
              <a:r>
                <a:rPr lang="en-US" sz="1200" noProof="1"/>
                <a:t>Installation de la SDK et de l’IDE</a:t>
              </a:r>
            </a:p>
          </p:txBody>
        </p:sp>
      </p:grpSp>
      <p:grpSp>
        <p:nvGrpSpPr>
          <p:cNvPr id="6" name="Group 4">
            <a:extLst>
              <a:ext uri="{FF2B5EF4-FFF2-40B4-BE49-F238E27FC236}">
                <a16:creationId xmlns:a16="http://schemas.microsoft.com/office/drawing/2014/main" id="{4F1CC1EB-1598-4809-8214-84996FF893B8}"/>
              </a:ext>
            </a:extLst>
          </p:cNvPr>
          <p:cNvGrpSpPr/>
          <p:nvPr/>
        </p:nvGrpSpPr>
        <p:grpSpPr>
          <a:xfrm>
            <a:off x="106551" y="1805656"/>
            <a:ext cx="3020697" cy="3145340"/>
            <a:chOff x="768287" y="1753083"/>
            <a:chExt cx="5831768" cy="4551492"/>
          </a:xfrm>
        </p:grpSpPr>
        <p:sp>
          <p:nvSpPr>
            <p:cNvPr id="7" name="Shape">
              <a:extLst>
                <a:ext uri="{FF2B5EF4-FFF2-40B4-BE49-F238E27FC236}">
                  <a16:creationId xmlns:a16="http://schemas.microsoft.com/office/drawing/2014/main" id="{70CB0501-D6B5-47FF-B541-968EFD19C0A5}"/>
                </a:ext>
              </a:extLst>
            </p:cNvPr>
            <p:cNvSpPr/>
            <p:nvPr/>
          </p:nvSpPr>
          <p:spPr>
            <a:xfrm>
              <a:off x="2411745" y="5097035"/>
              <a:ext cx="2695167" cy="12075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824" y="0"/>
                  </a:moveTo>
                  <a:lnTo>
                    <a:pt x="0" y="4473"/>
                  </a:lnTo>
                  <a:cubicBezTo>
                    <a:pt x="229" y="6007"/>
                    <a:pt x="435" y="7515"/>
                    <a:pt x="630" y="8947"/>
                  </a:cubicBezTo>
                  <a:cubicBezTo>
                    <a:pt x="825" y="10378"/>
                    <a:pt x="1008" y="11759"/>
                    <a:pt x="1180" y="13062"/>
                  </a:cubicBezTo>
                  <a:cubicBezTo>
                    <a:pt x="1351" y="14366"/>
                    <a:pt x="1500" y="15618"/>
                    <a:pt x="1649" y="16769"/>
                  </a:cubicBezTo>
                  <a:cubicBezTo>
                    <a:pt x="1787" y="17919"/>
                    <a:pt x="1924" y="19018"/>
                    <a:pt x="2039" y="20015"/>
                  </a:cubicBezTo>
                  <a:cubicBezTo>
                    <a:pt x="2073" y="20271"/>
                    <a:pt x="2107" y="20475"/>
                    <a:pt x="2165" y="20680"/>
                  </a:cubicBezTo>
                  <a:cubicBezTo>
                    <a:pt x="2222" y="20859"/>
                    <a:pt x="2279" y="21038"/>
                    <a:pt x="2348" y="21165"/>
                  </a:cubicBezTo>
                  <a:cubicBezTo>
                    <a:pt x="2417" y="21293"/>
                    <a:pt x="2497" y="21396"/>
                    <a:pt x="2577" y="21472"/>
                  </a:cubicBezTo>
                  <a:cubicBezTo>
                    <a:pt x="2657" y="21549"/>
                    <a:pt x="2737" y="21574"/>
                    <a:pt x="2829" y="21600"/>
                  </a:cubicBezTo>
                  <a:cubicBezTo>
                    <a:pt x="2909" y="21600"/>
                    <a:pt x="2978" y="21574"/>
                    <a:pt x="3058" y="21549"/>
                  </a:cubicBezTo>
                  <a:cubicBezTo>
                    <a:pt x="3046" y="21549"/>
                    <a:pt x="3035" y="21574"/>
                    <a:pt x="3024" y="21574"/>
                  </a:cubicBezTo>
                  <a:lnTo>
                    <a:pt x="19367" y="13727"/>
                  </a:lnTo>
                  <a:cubicBezTo>
                    <a:pt x="19424" y="13701"/>
                    <a:pt x="19481" y="13650"/>
                    <a:pt x="19527" y="13599"/>
                  </a:cubicBezTo>
                  <a:cubicBezTo>
                    <a:pt x="19573" y="13548"/>
                    <a:pt x="19630" y="13471"/>
                    <a:pt x="19664" y="13369"/>
                  </a:cubicBezTo>
                  <a:cubicBezTo>
                    <a:pt x="19699" y="13267"/>
                    <a:pt x="19745" y="13164"/>
                    <a:pt x="19779" y="13037"/>
                  </a:cubicBezTo>
                  <a:cubicBezTo>
                    <a:pt x="19813" y="12909"/>
                    <a:pt x="19836" y="12781"/>
                    <a:pt x="19859" y="12602"/>
                  </a:cubicBezTo>
                  <a:cubicBezTo>
                    <a:pt x="19962" y="11810"/>
                    <a:pt x="20065" y="10966"/>
                    <a:pt x="20191" y="10046"/>
                  </a:cubicBezTo>
                  <a:cubicBezTo>
                    <a:pt x="20317" y="9126"/>
                    <a:pt x="20443" y="8154"/>
                    <a:pt x="20592" y="7106"/>
                  </a:cubicBezTo>
                  <a:cubicBezTo>
                    <a:pt x="20741" y="6058"/>
                    <a:pt x="20890" y="4959"/>
                    <a:pt x="21062" y="3834"/>
                  </a:cubicBezTo>
                  <a:cubicBezTo>
                    <a:pt x="21142" y="3272"/>
                    <a:pt x="21234" y="2684"/>
                    <a:pt x="21325" y="2071"/>
                  </a:cubicBezTo>
                  <a:cubicBezTo>
                    <a:pt x="21417" y="1483"/>
                    <a:pt x="21508" y="869"/>
                    <a:pt x="21600" y="256"/>
                  </a:cubicBezTo>
                  <a:lnTo>
                    <a:pt x="21600" y="256"/>
                  </a:lnTo>
                  <a:lnTo>
                    <a:pt x="16824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8100" tIns="38100" rIns="540000" bIns="38100" anchor="ctr"/>
            <a:lstStyle>
              <a:defPPr>
                <a:defRPr lang="fr-FR"/>
              </a:defPPr>
              <a:lvl1pPr marL="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4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 sz="3000">
                  <a:solidFill>
                    <a:srgbClr val="FFFFFF"/>
                  </a:solidFill>
                </a:defRPr>
              </a:pPr>
              <a:endParaRPr sz="2000">
                <a:solidFill>
                  <a:schemeClr val="bg1"/>
                </a:solidFill>
              </a:endParaRPr>
            </a:p>
          </p:txBody>
        </p:sp>
        <p:sp>
          <p:nvSpPr>
            <p:cNvPr id="14" name="Shape">
              <a:extLst>
                <a:ext uri="{FF2B5EF4-FFF2-40B4-BE49-F238E27FC236}">
                  <a16:creationId xmlns:a16="http://schemas.microsoft.com/office/drawing/2014/main" id="{EC0933AD-40E6-4C2A-B7F6-AE5FCDD5C694}"/>
                </a:ext>
              </a:extLst>
            </p:cNvPr>
            <p:cNvSpPr/>
            <p:nvPr/>
          </p:nvSpPr>
          <p:spPr>
            <a:xfrm>
              <a:off x="2411742" y="5352831"/>
              <a:ext cx="1525842" cy="7615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51"/>
                  </a:moveTo>
                  <a:cubicBezTo>
                    <a:pt x="20729" y="2386"/>
                    <a:pt x="19902" y="4256"/>
                    <a:pt x="19161" y="6061"/>
                  </a:cubicBezTo>
                  <a:cubicBezTo>
                    <a:pt x="18377" y="7866"/>
                    <a:pt x="17681" y="9575"/>
                    <a:pt x="17027" y="11187"/>
                  </a:cubicBezTo>
                  <a:cubicBezTo>
                    <a:pt x="16374" y="12831"/>
                    <a:pt x="15765" y="14346"/>
                    <a:pt x="15242" y="15797"/>
                  </a:cubicBezTo>
                  <a:cubicBezTo>
                    <a:pt x="14676" y="17248"/>
                    <a:pt x="14197" y="18570"/>
                    <a:pt x="13761" y="19827"/>
                  </a:cubicBezTo>
                  <a:cubicBezTo>
                    <a:pt x="13631" y="20149"/>
                    <a:pt x="13500" y="20407"/>
                    <a:pt x="13282" y="20633"/>
                  </a:cubicBezTo>
                  <a:cubicBezTo>
                    <a:pt x="13065" y="20859"/>
                    <a:pt x="12847" y="21052"/>
                    <a:pt x="12585" y="21181"/>
                  </a:cubicBezTo>
                  <a:cubicBezTo>
                    <a:pt x="12324" y="21342"/>
                    <a:pt x="12019" y="21439"/>
                    <a:pt x="11714" y="21503"/>
                  </a:cubicBezTo>
                  <a:cubicBezTo>
                    <a:pt x="11410" y="21568"/>
                    <a:pt x="11105" y="21600"/>
                    <a:pt x="10756" y="21600"/>
                  </a:cubicBezTo>
                  <a:cubicBezTo>
                    <a:pt x="10452" y="21600"/>
                    <a:pt x="10103" y="21536"/>
                    <a:pt x="9798" y="21439"/>
                  </a:cubicBezTo>
                  <a:cubicBezTo>
                    <a:pt x="9494" y="21342"/>
                    <a:pt x="9189" y="21213"/>
                    <a:pt x="8927" y="21052"/>
                  </a:cubicBezTo>
                  <a:cubicBezTo>
                    <a:pt x="8666" y="20891"/>
                    <a:pt x="8405" y="20697"/>
                    <a:pt x="8231" y="20439"/>
                  </a:cubicBezTo>
                  <a:cubicBezTo>
                    <a:pt x="8013" y="20214"/>
                    <a:pt x="7882" y="19924"/>
                    <a:pt x="7752" y="19601"/>
                  </a:cubicBezTo>
                  <a:cubicBezTo>
                    <a:pt x="7316" y="18344"/>
                    <a:pt x="6837" y="16990"/>
                    <a:pt x="6271" y="15507"/>
                  </a:cubicBezTo>
                  <a:cubicBezTo>
                    <a:pt x="5748" y="14056"/>
                    <a:pt x="5139" y="12476"/>
                    <a:pt x="4485" y="10832"/>
                  </a:cubicBezTo>
                  <a:cubicBezTo>
                    <a:pt x="3832" y="9188"/>
                    <a:pt x="3135" y="7447"/>
                    <a:pt x="2395" y="5642"/>
                  </a:cubicBezTo>
                  <a:cubicBezTo>
                    <a:pt x="1655" y="3836"/>
                    <a:pt x="871" y="1934"/>
                    <a:pt x="0" y="0"/>
                  </a:cubicBezTo>
                  <a:lnTo>
                    <a:pt x="21600" y="45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8100" tIns="38100" rIns="38100" bIns="38100" anchor="t"/>
            <a:lstStyle>
              <a:defPPr>
                <a:defRPr lang="fr-FR"/>
              </a:defPPr>
              <a:lvl1pPr marL="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4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 sz="3000">
                  <a:solidFill>
                    <a:srgbClr val="FFFFFF"/>
                  </a:solidFill>
                </a:defRPr>
              </a:pPr>
              <a:r>
                <a:rPr lang="fr-FR" sz="20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Git</a:t>
              </a:r>
              <a:endParaRPr sz="2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5" name="Shape">
              <a:extLst>
                <a:ext uri="{FF2B5EF4-FFF2-40B4-BE49-F238E27FC236}">
                  <a16:creationId xmlns:a16="http://schemas.microsoft.com/office/drawing/2014/main" id="{A2734FF2-CB09-4A9C-B4A5-C310EF4B139C}"/>
                </a:ext>
              </a:extLst>
            </p:cNvPr>
            <p:cNvSpPr/>
            <p:nvPr/>
          </p:nvSpPr>
          <p:spPr>
            <a:xfrm>
              <a:off x="1968744" y="4168159"/>
              <a:ext cx="3499720" cy="10732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389" y="0"/>
                  </a:moveTo>
                  <a:lnTo>
                    <a:pt x="0" y="431"/>
                  </a:lnTo>
                  <a:cubicBezTo>
                    <a:pt x="229" y="2243"/>
                    <a:pt x="459" y="4055"/>
                    <a:pt x="670" y="5839"/>
                  </a:cubicBezTo>
                  <a:cubicBezTo>
                    <a:pt x="891" y="7622"/>
                    <a:pt x="1094" y="9376"/>
                    <a:pt x="1297" y="11131"/>
                  </a:cubicBezTo>
                  <a:cubicBezTo>
                    <a:pt x="1499" y="12885"/>
                    <a:pt x="1685" y="14582"/>
                    <a:pt x="1870" y="16279"/>
                  </a:cubicBezTo>
                  <a:cubicBezTo>
                    <a:pt x="2055" y="17976"/>
                    <a:pt x="2223" y="19615"/>
                    <a:pt x="2390" y="21226"/>
                  </a:cubicBezTo>
                  <a:lnTo>
                    <a:pt x="7321" y="21600"/>
                  </a:lnTo>
                  <a:lnTo>
                    <a:pt x="19518" y="16969"/>
                  </a:lnTo>
                  <a:cubicBezTo>
                    <a:pt x="19660" y="15675"/>
                    <a:pt x="19810" y="14352"/>
                    <a:pt x="19968" y="12972"/>
                  </a:cubicBezTo>
                  <a:cubicBezTo>
                    <a:pt x="20127" y="11620"/>
                    <a:pt x="20295" y="10210"/>
                    <a:pt x="20462" y="8801"/>
                  </a:cubicBezTo>
                  <a:cubicBezTo>
                    <a:pt x="20639" y="7392"/>
                    <a:pt x="20815" y="5954"/>
                    <a:pt x="21009" y="4487"/>
                  </a:cubicBezTo>
                  <a:cubicBezTo>
                    <a:pt x="21203" y="3020"/>
                    <a:pt x="21397" y="1553"/>
                    <a:pt x="21600" y="58"/>
                  </a:cubicBezTo>
                  <a:lnTo>
                    <a:pt x="13389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8100" tIns="38100" rIns="540000" bIns="38100" anchor="ctr"/>
            <a:lstStyle>
              <a:defPPr>
                <a:defRPr lang="fr-FR"/>
              </a:defPPr>
              <a:lvl1pPr marL="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4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 sz="3000">
                  <a:solidFill>
                    <a:srgbClr val="FFFFFF"/>
                  </a:solidFill>
                </a:defRPr>
              </a:pPr>
              <a:endParaRPr sz="2000">
                <a:solidFill>
                  <a:schemeClr val="bg1"/>
                </a:solidFill>
              </a:endParaRPr>
            </a:p>
          </p:txBody>
        </p:sp>
        <p:sp>
          <p:nvSpPr>
            <p:cNvPr id="16" name="Shape">
              <a:extLst>
                <a:ext uri="{FF2B5EF4-FFF2-40B4-BE49-F238E27FC236}">
                  <a16:creationId xmlns:a16="http://schemas.microsoft.com/office/drawing/2014/main" id="{BCB7682E-6176-4906-B2F2-2A083A9C2E43}"/>
                </a:ext>
              </a:extLst>
            </p:cNvPr>
            <p:cNvSpPr/>
            <p:nvPr/>
          </p:nvSpPr>
          <p:spPr>
            <a:xfrm>
              <a:off x="768351" y="1753084"/>
              <a:ext cx="5831704" cy="13875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89" h="21600" extrusionOk="0">
                  <a:moveTo>
                    <a:pt x="21577" y="8364"/>
                  </a:moveTo>
                  <a:cubicBezTo>
                    <a:pt x="21561" y="8142"/>
                    <a:pt x="21535" y="7919"/>
                    <a:pt x="21492" y="7764"/>
                  </a:cubicBezTo>
                  <a:cubicBezTo>
                    <a:pt x="21455" y="7586"/>
                    <a:pt x="21408" y="7474"/>
                    <a:pt x="21350" y="7408"/>
                  </a:cubicBezTo>
                  <a:cubicBezTo>
                    <a:pt x="19271" y="4961"/>
                    <a:pt x="17186" y="2514"/>
                    <a:pt x="15107" y="67"/>
                  </a:cubicBezTo>
                  <a:cubicBezTo>
                    <a:pt x="15107" y="67"/>
                    <a:pt x="15107" y="67"/>
                    <a:pt x="15107" y="67"/>
                  </a:cubicBezTo>
                  <a:cubicBezTo>
                    <a:pt x="15070" y="22"/>
                    <a:pt x="15028" y="0"/>
                    <a:pt x="14980" y="0"/>
                  </a:cubicBezTo>
                  <a:lnTo>
                    <a:pt x="7378" y="1424"/>
                  </a:lnTo>
                  <a:lnTo>
                    <a:pt x="353" y="2736"/>
                  </a:lnTo>
                  <a:cubicBezTo>
                    <a:pt x="273" y="2758"/>
                    <a:pt x="210" y="2870"/>
                    <a:pt x="152" y="3070"/>
                  </a:cubicBezTo>
                  <a:cubicBezTo>
                    <a:pt x="99" y="3270"/>
                    <a:pt x="56" y="3537"/>
                    <a:pt x="30" y="3826"/>
                  </a:cubicBezTo>
                  <a:cubicBezTo>
                    <a:pt x="4" y="4115"/>
                    <a:pt x="-7" y="4449"/>
                    <a:pt x="4" y="4760"/>
                  </a:cubicBezTo>
                  <a:cubicBezTo>
                    <a:pt x="14" y="5072"/>
                    <a:pt x="41" y="5383"/>
                    <a:pt x="94" y="5650"/>
                  </a:cubicBezTo>
                  <a:cubicBezTo>
                    <a:pt x="279" y="6607"/>
                    <a:pt x="459" y="7586"/>
                    <a:pt x="638" y="8587"/>
                  </a:cubicBezTo>
                  <a:cubicBezTo>
                    <a:pt x="818" y="9588"/>
                    <a:pt x="993" y="10611"/>
                    <a:pt x="1162" y="11656"/>
                  </a:cubicBezTo>
                  <a:cubicBezTo>
                    <a:pt x="1331" y="12702"/>
                    <a:pt x="1501" y="13770"/>
                    <a:pt x="1665" y="14837"/>
                  </a:cubicBezTo>
                  <a:cubicBezTo>
                    <a:pt x="1829" y="15927"/>
                    <a:pt x="1987" y="17017"/>
                    <a:pt x="2146" y="18130"/>
                  </a:cubicBezTo>
                  <a:lnTo>
                    <a:pt x="10536" y="21600"/>
                  </a:lnTo>
                  <a:lnTo>
                    <a:pt x="19556" y="20910"/>
                  </a:lnTo>
                  <a:cubicBezTo>
                    <a:pt x="19704" y="19954"/>
                    <a:pt x="19853" y="18997"/>
                    <a:pt x="20006" y="18041"/>
                  </a:cubicBezTo>
                  <a:cubicBezTo>
                    <a:pt x="20159" y="17084"/>
                    <a:pt x="20318" y="16150"/>
                    <a:pt x="20477" y="15216"/>
                  </a:cubicBezTo>
                  <a:cubicBezTo>
                    <a:pt x="20641" y="14281"/>
                    <a:pt x="20805" y="13369"/>
                    <a:pt x="20974" y="12457"/>
                  </a:cubicBezTo>
                  <a:cubicBezTo>
                    <a:pt x="21143" y="11545"/>
                    <a:pt x="21318" y="10655"/>
                    <a:pt x="21498" y="9788"/>
                  </a:cubicBezTo>
                  <a:cubicBezTo>
                    <a:pt x="21540" y="9565"/>
                    <a:pt x="21567" y="9343"/>
                    <a:pt x="21582" y="9098"/>
                  </a:cubicBezTo>
                  <a:cubicBezTo>
                    <a:pt x="21593" y="8854"/>
                    <a:pt x="21588" y="8587"/>
                    <a:pt x="21577" y="8364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8100" tIns="38100" rIns="540000" bIns="38100" anchor="ctr"/>
            <a:lstStyle>
              <a:defPPr>
                <a:defRPr lang="fr-FR"/>
              </a:defPPr>
              <a:lvl1pPr marL="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4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 sz="3000">
                  <a:solidFill>
                    <a:srgbClr val="FFFFFF"/>
                  </a:solidFill>
                </a:defRPr>
              </a:pPr>
              <a:endParaRPr sz="2000">
                <a:solidFill>
                  <a:schemeClr val="bg1"/>
                </a:solidFill>
              </a:endParaRPr>
            </a:p>
          </p:txBody>
        </p:sp>
        <p:sp>
          <p:nvSpPr>
            <p:cNvPr id="17" name="Shape">
              <a:extLst>
                <a:ext uri="{FF2B5EF4-FFF2-40B4-BE49-F238E27FC236}">
                  <a16:creationId xmlns:a16="http://schemas.microsoft.com/office/drawing/2014/main" id="{F74B9953-C0A5-485C-8B39-7EB6AE0DF7FD}"/>
                </a:ext>
              </a:extLst>
            </p:cNvPr>
            <p:cNvSpPr/>
            <p:nvPr/>
          </p:nvSpPr>
          <p:spPr>
            <a:xfrm>
              <a:off x="1425710" y="3048516"/>
              <a:ext cx="4561497" cy="10746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053" y="0"/>
                  </a:moveTo>
                  <a:lnTo>
                    <a:pt x="0" y="1178"/>
                  </a:lnTo>
                  <a:cubicBezTo>
                    <a:pt x="223" y="2815"/>
                    <a:pt x="440" y="4510"/>
                    <a:pt x="650" y="6176"/>
                  </a:cubicBezTo>
                  <a:cubicBezTo>
                    <a:pt x="859" y="7870"/>
                    <a:pt x="1062" y="9565"/>
                    <a:pt x="1259" y="11260"/>
                  </a:cubicBezTo>
                  <a:cubicBezTo>
                    <a:pt x="1455" y="12954"/>
                    <a:pt x="1651" y="14678"/>
                    <a:pt x="1834" y="16372"/>
                  </a:cubicBezTo>
                  <a:cubicBezTo>
                    <a:pt x="2023" y="18096"/>
                    <a:pt x="2199" y="19790"/>
                    <a:pt x="2375" y="21514"/>
                  </a:cubicBezTo>
                  <a:lnTo>
                    <a:pt x="10462" y="21514"/>
                  </a:lnTo>
                  <a:lnTo>
                    <a:pt x="19448" y="21600"/>
                  </a:lnTo>
                  <a:cubicBezTo>
                    <a:pt x="19604" y="20193"/>
                    <a:pt x="19766" y="18756"/>
                    <a:pt x="19929" y="17320"/>
                  </a:cubicBezTo>
                  <a:cubicBezTo>
                    <a:pt x="20098" y="15884"/>
                    <a:pt x="20267" y="14448"/>
                    <a:pt x="20450" y="13012"/>
                  </a:cubicBezTo>
                  <a:cubicBezTo>
                    <a:pt x="20626" y="11576"/>
                    <a:pt x="20815" y="10139"/>
                    <a:pt x="21005" y="8703"/>
                  </a:cubicBezTo>
                  <a:cubicBezTo>
                    <a:pt x="21099" y="7985"/>
                    <a:pt x="21201" y="7267"/>
                    <a:pt x="21295" y="6549"/>
                  </a:cubicBezTo>
                  <a:cubicBezTo>
                    <a:pt x="21390" y="5831"/>
                    <a:pt x="21492" y="5113"/>
                    <a:pt x="21600" y="4423"/>
                  </a:cubicBezTo>
                  <a:lnTo>
                    <a:pt x="13053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8100" tIns="38100" rIns="540000" bIns="38100" anchor="ctr"/>
            <a:lstStyle>
              <a:defPPr>
                <a:defRPr lang="fr-FR"/>
              </a:defPPr>
              <a:lvl1pPr marL="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4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 sz="3000">
                  <a:solidFill>
                    <a:srgbClr val="FFFFFF"/>
                  </a:solidFill>
                </a:defRPr>
              </a:pPr>
              <a:endParaRPr sz="1050">
                <a:solidFill>
                  <a:schemeClr val="bg1"/>
                </a:solidFill>
              </a:endParaRPr>
            </a:p>
          </p:txBody>
        </p:sp>
        <p:sp>
          <p:nvSpPr>
            <p:cNvPr id="18" name="Freeform: Shape 35">
              <a:extLst>
                <a:ext uri="{FF2B5EF4-FFF2-40B4-BE49-F238E27FC236}">
                  <a16:creationId xmlns:a16="http://schemas.microsoft.com/office/drawing/2014/main" id="{D179C1EA-EF23-491C-86F8-49414538A432}"/>
                </a:ext>
              </a:extLst>
            </p:cNvPr>
            <p:cNvSpPr/>
            <p:nvPr/>
          </p:nvSpPr>
          <p:spPr>
            <a:xfrm>
              <a:off x="768287" y="1753084"/>
              <a:ext cx="4159236" cy="1267095"/>
            </a:xfrm>
            <a:custGeom>
              <a:avLst/>
              <a:gdLst>
                <a:gd name="connsiteX0" fmla="*/ 4046520 w 4159236"/>
                <a:gd name="connsiteY0" fmla="*/ 0 h 1267095"/>
                <a:gd name="connsiteX1" fmla="*/ 4080825 w 4159236"/>
                <a:gd name="connsiteY1" fmla="*/ 4304 h 1267095"/>
                <a:gd name="connsiteX2" fmla="*/ 4118180 w 4159236"/>
                <a:gd name="connsiteY2" fmla="*/ 14750 h 1267095"/>
                <a:gd name="connsiteX3" fmla="*/ 4134059 w 4159236"/>
                <a:gd name="connsiteY3" fmla="*/ 29263 h 1267095"/>
                <a:gd name="connsiteX4" fmla="*/ 4149669 w 4159236"/>
                <a:gd name="connsiteY4" fmla="*/ 56823 h 1267095"/>
                <a:gd name="connsiteX5" fmla="*/ 4158149 w 4159236"/>
                <a:gd name="connsiteY5" fmla="*/ 121194 h 1267095"/>
                <a:gd name="connsiteX6" fmla="*/ 4129627 w 4159236"/>
                <a:gd name="connsiteY6" fmla="*/ 185620 h 1267095"/>
                <a:gd name="connsiteX7" fmla="*/ 3958107 w 4159236"/>
                <a:gd name="connsiteY7" fmla="*/ 401736 h 1267095"/>
                <a:gd name="connsiteX8" fmla="*/ 3795261 w 4159236"/>
                <a:gd name="connsiteY8" fmla="*/ 624963 h 1267095"/>
                <a:gd name="connsiteX9" fmla="*/ 3640894 w 4159236"/>
                <a:gd name="connsiteY9" fmla="*/ 852553 h 1267095"/>
                <a:gd name="connsiteX10" fmla="*/ 3493657 w 4159236"/>
                <a:gd name="connsiteY10" fmla="*/ 1084400 h 1267095"/>
                <a:gd name="connsiteX11" fmla="*/ 3414041 w 4159236"/>
                <a:gd name="connsiteY11" fmla="*/ 1221594 h 1267095"/>
                <a:gd name="connsiteX12" fmla="*/ 3409815 w 4159236"/>
                <a:gd name="connsiteY12" fmla="*/ 1229061 h 1267095"/>
                <a:gd name="connsiteX13" fmla="*/ 1620963 w 4159236"/>
                <a:gd name="connsiteY13" fmla="*/ 1267095 h 1267095"/>
                <a:gd name="connsiteX14" fmla="*/ 579750 w 4159236"/>
                <a:gd name="connsiteY14" fmla="*/ 1164682 h 1267095"/>
                <a:gd name="connsiteX15" fmla="*/ 449820 w 4159236"/>
                <a:gd name="connsiteY15" fmla="*/ 953138 h 1267095"/>
                <a:gd name="connsiteX16" fmla="*/ 313948 w 4159236"/>
                <a:gd name="connsiteY16" fmla="*/ 748789 h 1267095"/>
                <a:gd name="connsiteX17" fmla="*/ 172403 w 4159236"/>
                <a:gd name="connsiteY17" fmla="*/ 551634 h 1267095"/>
                <a:gd name="connsiteX18" fmla="*/ 25456 w 4159236"/>
                <a:gd name="connsiteY18" fmla="*/ 362960 h 1267095"/>
                <a:gd name="connsiteX19" fmla="*/ 1145 w 4159236"/>
                <a:gd name="connsiteY19" fmla="*/ 305785 h 1267095"/>
                <a:gd name="connsiteX20" fmla="*/ 8168 w 4159236"/>
                <a:gd name="connsiteY20" fmla="*/ 245785 h 1267095"/>
                <a:gd name="connsiteX21" fmla="*/ 41123 w 4159236"/>
                <a:gd name="connsiteY21" fmla="*/ 197219 h 1267095"/>
                <a:gd name="connsiteX22" fmla="*/ 95418 w 4159236"/>
                <a:gd name="connsiteY22" fmla="*/ 175762 h 1267095"/>
                <a:gd name="connsiteX23" fmla="*/ 1993038 w 4159236"/>
                <a:gd name="connsiteY23" fmla="*/ 91479 h 1267095"/>
                <a:gd name="connsiteX24" fmla="*/ 4046520 w 4159236"/>
                <a:gd name="connsiteY24" fmla="*/ 0 h 12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159236" h="1267095">
                  <a:moveTo>
                    <a:pt x="4046520" y="0"/>
                  </a:moveTo>
                  <a:cubicBezTo>
                    <a:pt x="4059485" y="0"/>
                    <a:pt x="4070831" y="1413"/>
                    <a:pt x="4080825" y="4304"/>
                  </a:cubicBezTo>
                  <a:lnTo>
                    <a:pt x="4118180" y="14750"/>
                  </a:lnTo>
                  <a:lnTo>
                    <a:pt x="4134059" y="29263"/>
                  </a:lnTo>
                  <a:cubicBezTo>
                    <a:pt x="4140708" y="37498"/>
                    <a:pt x="4146104" y="46804"/>
                    <a:pt x="4149669" y="56823"/>
                  </a:cubicBezTo>
                  <a:cubicBezTo>
                    <a:pt x="4158149" y="76862"/>
                    <a:pt x="4161040" y="99756"/>
                    <a:pt x="4158149" y="121194"/>
                  </a:cubicBezTo>
                  <a:cubicBezTo>
                    <a:pt x="4155258" y="144088"/>
                    <a:pt x="4146778" y="165581"/>
                    <a:pt x="4129627" y="185620"/>
                  </a:cubicBezTo>
                  <a:cubicBezTo>
                    <a:pt x="4071040" y="257156"/>
                    <a:pt x="4013803" y="328746"/>
                    <a:pt x="3958107" y="401736"/>
                  </a:cubicBezTo>
                  <a:cubicBezTo>
                    <a:pt x="3902412" y="474727"/>
                    <a:pt x="3848065" y="549118"/>
                    <a:pt x="3795261" y="624963"/>
                  </a:cubicBezTo>
                  <a:cubicBezTo>
                    <a:pt x="3742263" y="700809"/>
                    <a:pt x="3690808" y="776708"/>
                    <a:pt x="3640894" y="852553"/>
                  </a:cubicBezTo>
                  <a:cubicBezTo>
                    <a:pt x="3590787" y="929800"/>
                    <a:pt x="3542222" y="1007099"/>
                    <a:pt x="3493657" y="1084400"/>
                  </a:cubicBezTo>
                  <a:lnTo>
                    <a:pt x="3414041" y="1221594"/>
                  </a:lnTo>
                  <a:lnTo>
                    <a:pt x="3409815" y="1229061"/>
                  </a:lnTo>
                  <a:lnTo>
                    <a:pt x="1620963" y="1267095"/>
                  </a:lnTo>
                  <a:lnTo>
                    <a:pt x="579750" y="1164682"/>
                  </a:lnTo>
                  <a:cubicBezTo>
                    <a:pt x="536800" y="1093183"/>
                    <a:pt x="494121" y="1023160"/>
                    <a:pt x="449820" y="953138"/>
                  </a:cubicBezTo>
                  <a:cubicBezTo>
                    <a:pt x="405520" y="884593"/>
                    <a:pt x="359599" y="815984"/>
                    <a:pt x="313948" y="748789"/>
                  </a:cubicBezTo>
                  <a:cubicBezTo>
                    <a:pt x="268297" y="681657"/>
                    <a:pt x="221025" y="615939"/>
                    <a:pt x="172403" y="551634"/>
                  </a:cubicBezTo>
                  <a:cubicBezTo>
                    <a:pt x="124051" y="487329"/>
                    <a:pt x="75429" y="424438"/>
                    <a:pt x="25456" y="362960"/>
                  </a:cubicBezTo>
                  <a:cubicBezTo>
                    <a:pt x="11139" y="345807"/>
                    <a:pt x="3846" y="325828"/>
                    <a:pt x="1145" y="305785"/>
                  </a:cubicBezTo>
                  <a:cubicBezTo>
                    <a:pt x="-1827" y="285807"/>
                    <a:pt x="1145" y="264350"/>
                    <a:pt x="8168" y="245785"/>
                  </a:cubicBezTo>
                  <a:cubicBezTo>
                    <a:pt x="15191" y="227219"/>
                    <a:pt x="26806" y="210067"/>
                    <a:pt x="41123" y="197219"/>
                  </a:cubicBezTo>
                  <a:cubicBezTo>
                    <a:pt x="56790" y="184371"/>
                    <a:pt x="73808" y="177176"/>
                    <a:pt x="95418" y="175762"/>
                  </a:cubicBezTo>
                  <a:lnTo>
                    <a:pt x="1993038" y="91479"/>
                  </a:lnTo>
                  <a:lnTo>
                    <a:pt x="404652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38100" tIns="38100" rIns="540000" bIns="38100" anchor="ctr">
              <a:noAutofit/>
            </a:bodyPr>
            <a:lstStyle>
              <a:defPPr>
                <a:defRPr lang="fr-FR"/>
              </a:defPPr>
              <a:lvl1pPr marL="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4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 sz="3000">
                  <a:solidFill>
                    <a:srgbClr val="FFFFFF"/>
                  </a:solidFill>
                </a:defRPr>
              </a:pPr>
              <a:endParaRPr sz="2000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29">
              <a:extLst>
                <a:ext uri="{FF2B5EF4-FFF2-40B4-BE49-F238E27FC236}">
                  <a16:creationId xmlns:a16="http://schemas.microsoft.com/office/drawing/2014/main" id="{3BE59487-E4E7-45CA-8879-CDCD379BB673}"/>
                </a:ext>
              </a:extLst>
            </p:cNvPr>
            <p:cNvSpPr/>
            <p:nvPr/>
          </p:nvSpPr>
          <p:spPr>
            <a:xfrm>
              <a:off x="1425709" y="3020179"/>
              <a:ext cx="2667589" cy="1032239"/>
            </a:xfrm>
            <a:custGeom>
              <a:avLst/>
              <a:gdLst>
                <a:gd name="connsiteX0" fmla="*/ 963542 w 2667589"/>
                <a:gd name="connsiteY0" fmla="*/ 0 h 1032239"/>
                <a:gd name="connsiteX1" fmla="*/ 2188668 w 2667589"/>
                <a:gd name="connsiteY1" fmla="*/ 120502 h 1032239"/>
                <a:gd name="connsiteX2" fmla="*/ 2667589 w 2667589"/>
                <a:gd name="connsiteY2" fmla="*/ 111789 h 1032239"/>
                <a:gd name="connsiteX3" fmla="*/ 2605134 w 2667589"/>
                <a:gd name="connsiteY3" fmla="*/ 222129 h 1032239"/>
                <a:gd name="connsiteX4" fmla="*/ 2463729 w 2667589"/>
                <a:gd name="connsiteY4" fmla="*/ 491196 h 1032239"/>
                <a:gd name="connsiteX5" fmla="*/ 2332152 w 2667589"/>
                <a:gd name="connsiteY5" fmla="*/ 758827 h 1032239"/>
                <a:gd name="connsiteX6" fmla="*/ 2209253 w 2667589"/>
                <a:gd name="connsiteY6" fmla="*/ 1025019 h 1032239"/>
                <a:gd name="connsiteX7" fmla="*/ 2205391 w 2667589"/>
                <a:gd name="connsiteY7" fmla="*/ 1032239 h 1032239"/>
                <a:gd name="connsiteX8" fmla="*/ 501554 w 2667589"/>
                <a:gd name="connsiteY8" fmla="*/ 1032239 h 1032239"/>
                <a:gd name="connsiteX9" fmla="*/ 387305 w 2667589"/>
                <a:gd name="connsiteY9" fmla="*/ 776415 h 1032239"/>
                <a:gd name="connsiteX10" fmla="*/ 265876 w 2667589"/>
                <a:gd name="connsiteY10" fmla="*/ 522083 h 1032239"/>
                <a:gd name="connsiteX11" fmla="*/ 137267 w 2667589"/>
                <a:gd name="connsiteY11" fmla="*/ 269145 h 1032239"/>
                <a:gd name="connsiteX12" fmla="*/ 0 w 2667589"/>
                <a:gd name="connsiteY12" fmla="*/ 20486 h 1032239"/>
                <a:gd name="connsiteX13" fmla="*/ 963542 w 2667589"/>
                <a:gd name="connsiteY13" fmla="*/ 0 h 1032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67589" h="1032239">
                  <a:moveTo>
                    <a:pt x="963542" y="0"/>
                  </a:moveTo>
                  <a:lnTo>
                    <a:pt x="2188668" y="120502"/>
                  </a:lnTo>
                  <a:lnTo>
                    <a:pt x="2667589" y="111789"/>
                  </a:lnTo>
                  <a:lnTo>
                    <a:pt x="2605134" y="222129"/>
                  </a:lnTo>
                  <a:cubicBezTo>
                    <a:pt x="2556510" y="312281"/>
                    <a:pt x="2509418" y="401044"/>
                    <a:pt x="2463729" y="491196"/>
                  </a:cubicBezTo>
                  <a:cubicBezTo>
                    <a:pt x="2417913" y="581348"/>
                    <a:pt x="2373629" y="670112"/>
                    <a:pt x="2332152" y="758827"/>
                  </a:cubicBezTo>
                  <a:cubicBezTo>
                    <a:pt x="2289271" y="847541"/>
                    <a:pt x="2249326" y="936305"/>
                    <a:pt x="2209253" y="1025019"/>
                  </a:cubicBezTo>
                  <a:lnTo>
                    <a:pt x="2205391" y="1032239"/>
                  </a:lnTo>
                  <a:lnTo>
                    <a:pt x="501554" y="1032239"/>
                  </a:lnTo>
                  <a:cubicBezTo>
                    <a:pt x="464386" y="946466"/>
                    <a:pt x="427218" y="862187"/>
                    <a:pt x="387305" y="776415"/>
                  </a:cubicBezTo>
                  <a:cubicBezTo>
                    <a:pt x="348659" y="692135"/>
                    <a:pt x="307268" y="606363"/>
                    <a:pt x="265876" y="522083"/>
                  </a:cubicBezTo>
                  <a:cubicBezTo>
                    <a:pt x="224274" y="437754"/>
                    <a:pt x="181404" y="353425"/>
                    <a:pt x="137267" y="269145"/>
                  </a:cubicBezTo>
                  <a:cubicBezTo>
                    <a:pt x="92919" y="186259"/>
                    <a:pt x="47093" y="101929"/>
                    <a:pt x="0" y="20486"/>
                  </a:cubicBezTo>
                  <a:lnTo>
                    <a:pt x="963542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38100" tIns="38100" rIns="540000" bIns="38100" anchor="ctr">
              <a:noAutofit/>
            </a:bodyPr>
            <a:lstStyle>
              <a:defPPr>
                <a:defRPr lang="fr-FR"/>
              </a:defPPr>
              <a:lvl1pPr marL="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4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 sz="3000">
                  <a:solidFill>
                    <a:srgbClr val="FFFFFF"/>
                  </a:solidFill>
                </a:defRPr>
              </a:pPr>
              <a:endParaRPr sz="2000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50">
              <a:extLst>
                <a:ext uri="{FF2B5EF4-FFF2-40B4-BE49-F238E27FC236}">
                  <a16:creationId xmlns:a16="http://schemas.microsoft.com/office/drawing/2014/main" id="{DA843FDD-6C24-4E7D-864C-69C8C8BF198A}"/>
                </a:ext>
              </a:extLst>
            </p:cNvPr>
            <p:cNvSpPr/>
            <p:nvPr/>
          </p:nvSpPr>
          <p:spPr>
            <a:xfrm>
              <a:off x="1968741" y="4223979"/>
              <a:ext cx="2484924" cy="884071"/>
            </a:xfrm>
            <a:custGeom>
              <a:avLst/>
              <a:gdLst>
                <a:gd name="connsiteX0" fmla="*/ 1597426 w 1597426"/>
                <a:gd name="connsiteY0" fmla="*/ 0 h 1067498"/>
                <a:gd name="connsiteX1" fmla="*/ 1591954 w 1597426"/>
                <a:gd name="connsiteY1" fmla="*/ 10229 h 1067498"/>
                <a:gd name="connsiteX2" fmla="*/ 1589610 w 1597426"/>
                <a:gd name="connsiteY2" fmla="*/ 15792 h 1067498"/>
                <a:gd name="connsiteX3" fmla="*/ 1591953 w 1597426"/>
                <a:gd name="connsiteY3" fmla="*/ 15802 h 1067498"/>
                <a:gd name="connsiteX4" fmla="*/ 1476168 w 1597426"/>
                <a:gd name="connsiteY4" fmla="*/ 290189 h 1067498"/>
                <a:gd name="connsiteX5" fmla="*/ 1370480 w 1597426"/>
                <a:gd name="connsiteY5" fmla="*/ 557417 h 1067498"/>
                <a:gd name="connsiteX6" fmla="*/ 1273268 w 1597426"/>
                <a:gd name="connsiteY6" fmla="*/ 814615 h 1067498"/>
                <a:gd name="connsiteX7" fmla="*/ 1186079 w 1597426"/>
                <a:gd name="connsiteY7" fmla="*/ 1060418 h 1067498"/>
                <a:gd name="connsiteX8" fmla="*/ 1185106 w 1597426"/>
                <a:gd name="connsiteY8" fmla="*/ 1060396 h 1067498"/>
                <a:gd name="connsiteX9" fmla="*/ 1183370 w 1597426"/>
                <a:gd name="connsiteY9" fmla="*/ 1067498 h 1067498"/>
                <a:gd name="connsiteX10" fmla="*/ 387239 w 1597426"/>
                <a:gd name="connsiteY10" fmla="*/ 1048981 h 1067498"/>
                <a:gd name="connsiteX11" fmla="*/ 302986 w 1597426"/>
                <a:gd name="connsiteY11" fmla="*/ 803186 h 1067498"/>
                <a:gd name="connsiteX12" fmla="*/ 210146 w 1597426"/>
                <a:gd name="connsiteY12" fmla="*/ 547405 h 1067498"/>
                <a:gd name="connsiteX13" fmla="*/ 108557 w 1597426"/>
                <a:gd name="connsiteY13" fmla="*/ 284468 h 1067498"/>
                <a:gd name="connsiteX14" fmla="*/ 1 w 1597426"/>
                <a:gd name="connsiteY14" fmla="*/ 15769 h 1067498"/>
                <a:gd name="connsiteX15" fmla="*/ 2870 w 1597426"/>
                <a:gd name="connsiteY15" fmla="*/ 15741 h 1067498"/>
                <a:gd name="connsiteX16" fmla="*/ 0 w 1597426"/>
                <a:gd name="connsiteY16" fmla="*/ 8644 h 1067498"/>
                <a:gd name="connsiteX17" fmla="*/ 495899 w 1597426"/>
                <a:gd name="connsiteY17" fmla="*/ 10874 h 1067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97426" h="1067498">
                  <a:moveTo>
                    <a:pt x="1597426" y="0"/>
                  </a:moveTo>
                  <a:lnTo>
                    <a:pt x="1591954" y="10229"/>
                  </a:lnTo>
                  <a:lnTo>
                    <a:pt x="1589610" y="15792"/>
                  </a:lnTo>
                  <a:lnTo>
                    <a:pt x="1591953" y="15802"/>
                  </a:lnTo>
                  <a:cubicBezTo>
                    <a:pt x="1551933" y="108660"/>
                    <a:pt x="1513387" y="200155"/>
                    <a:pt x="1476168" y="290189"/>
                  </a:cubicBezTo>
                  <a:cubicBezTo>
                    <a:pt x="1439023" y="380174"/>
                    <a:pt x="1403351" y="470207"/>
                    <a:pt x="1370480" y="557417"/>
                  </a:cubicBezTo>
                  <a:cubicBezTo>
                    <a:pt x="1336135" y="644578"/>
                    <a:pt x="1304738" y="731739"/>
                    <a:pt x="1273268" y="814615"/>
                  </a:cubicBezTo>
                  <a:cubicBezTo>
                    <a:pt x="1243271" y="898951"/>
                    <a:pt x="1213275" y="980415"/>
                    <a:pt x="1186079" y="1060418"/>
                  </a:cubicBezTo>
                  <a:lnTo>
                    <a:pt x="1185106" y="1060396"/>
                  </a:lnTo>
                  <a:lnTo>
                    <a:pt x="1183370" y="1067498"/>
                  </a:lnTo>
                  <a:lnTo>
                    <a:pt x="387239" y="1048981"/>
                  </a:lnTo>
                  <a:cubicBezTo>
                    <a:pt x="360181" y="968937"/>
                    <a:pt x="332961" y="887503"/>
                    <a:pt x="302986" y="803186"/>
                  </a:cubicBezTo>
                  <a:cubicBezTo>
                    <a:pt x="273012" y="718870"/>
                    <a:pt x="242875" y="634553"/>
                    <a:pt x="210146" y="547405"/>
                  </a:cubicBezTo>
                  <a:cubicBezTo>
                    <a:pt x="177255" y="460206"/>
                    <a:pt x="144365" y="373058"/>
                    <a:pt x="108557" y="284468"/>
                  </a:cubicBezTo>
                  <a:cubicBezTo>
                    <a:pt x="74370" y="195829"/>
                    <a:pt x="37105" y="105799"/>
                    <a:pt x="1" y="15769"/>
                  </a:cubicBezTo>
                  <a:lnTo>
                    <a:pt x="2870" y="15741"/>
                  </a:lnTo>
                  <a:lnTo>
                    <a:pt x="0" y="8644"/>
                  </a:lnTo>
                  <a:lnTo>
                    <a:pt x="495899" y="10874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8100" tIns="38100" rIns="38100" bIns="38100" anchor="ctr"/>
            <a:lstStyle>
              <a:defPPr>
                <a:defRPr lang="fr-FR"/>
              </a:defPPr>
              <a:lvl1pPr marL="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4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b="1" err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yton</a:t>
              </a:r>
              <a:endParaRPr sz="2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1" name="Shape">
              <a:extLst>
                <a:ext uri="{FF2B5EF4-FFF2-40B4-BE49-F238E27FC236}">
                  <a16:creationId xmlns:a16="http://schemas.microsoft.com/office/drawing/2014/main" id="{1A47354B-3174-459A-A692-C19562BA1829}"/>
                </a:ext>
              </a:extLst>
            </p:cNvPr>
            <p:cNvSpPr/>
            <p:nvPr/>
          </p:nvSpPr>
          <p:spPr>
            <a:xfrm>
              <a:off x="768351" y="1753083"/>
              <a:ext cx="4159241" cy="11605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82" h="21577" extrusionOk="0">
                  <a:moveTo>
                    <a:pt x="21005" y="4"/>
                  </a:moveTo>
                  <a:cubicBezTo>
                    <a:pt x="21131" y="-23"/>
                    <a:pt x="21242" y="110"/>
                    <a:pt x="21331" y="322"/>
                  </a:cubicBezTo>
                  <a:cubicBezTo>
                    <a:pt x="21420" y="535"/>
                    <a:pt x="21495" y="854"/>
                    <a:pt x="21532" y="1226"/>
                  </a:cubicBezTo>
                  <a:cubicBezTo>
                    <a:pt x="21576" y="1598"/>
                    <a:pt x="21591" y="2023"/>
                    <a:pt x="21576" y="2421"/>
                  </a:cubicBezTo>
                  <a:cubicBezTo>
                    <a:pt x="21561" y="2846"/>
                    <a:pt x="21517" y="3245"/>
                    <a:pt x="21428" y="3617"/>
                  </a:cubicBezTo>
                  <a:cubicBezTo>
                    <a:pt x="21124" y="4945"/>
                    <a:pt x="20827" y="6274"/>
                    <a:pt x="20538" y="7629"/>
                  </a:cubicBezTo>
                  <a:cubicBezTo>
                    <a:pt x="20249" y="8984"/>
                    <a:pt x="19967" y="10365"/>
                    <a:pt x="19693" y="11773"/>
                  </a:cubicBezTo>
                  <a:cubicBezTo>
                    <a:pt x="19418" y="13181"/>
                    <a:pt x="19151" y="14590"/>
                    <a:pt x="18892" y="15998"/>
                  </a:cubicBezTo>
                  <a:cubicBezTo>
                    <a:pt x="18632" y="17432"/>
                    <a:pt x="18380" y="18867"/>
                    <a:pt x="18128" y="20302"/>
                  </a:cubicBezTo>
                  <a:lnTo>
                    <a:pt x="3009" y="21577"/>
                  </a:lnTo>
                  <a:cubicBezTo>
                    <a:pt x="2786" y="20249"/>
                    <a:pt x="2564" y="18947"/>
                    <a:pt x="2334" y="17645"/>
                  </a:cubicBezTo>
                  <a:cubicBezTo>
                    <a:pt x="2104" y="16343"/>
                    <a:pt x="1867" y="15094"/>
                    <a:pt x="1630" y="13846"/>
                  </a:cubicBezTo>
                  <a:cubicBezTo>
                    <a:pt x="1392" y="12597"/>
                    <a:pt x="1148" y="11375"/>
                    <a:pt x="896" y="10179"/>
                  </a:cubicBezTo>
                  <a:cubicBezTo>
                    <a:pt x="644" y="8984"/>
                    <a:pt x="391" y="7815"/>
                    <a:pt x="132" y="6672"/>
                  </a:cubicBezTo>
                  <a:cubicBezTo>
                    <a:pt x="58" y="6353"/>
                    <a:pt x="21" y="5981"/>
                    <a:pt x="6" y="5609"/>
                  </a:cubicBezTo>
                  <a:cubicBezTo>
                    <a:pt x="-9" y="5238"/>
                    <a:pt x="6" y="4839"/>
                    <a:pt x="43" y="4494"/>
                  </a:cubicBezTo>
                  <a:cubicBezTo>
                    <a:pt x="80" y="4148"/>
                    <a:pt x="139" y="3829"/>
                    <a:pt x="213" y="3590"/>
                  </a:cubicBezTo>
                  <a:cubicBezTo>
                    <a:pt x="288" y="3351"/>
                    <a:pt x="384" y="3218"/>
                    <a:pt x="495" y="3192"/>
                  </a:cubicBezTo>
                  <a:lnTo>
                    <a:pt x="10342" y="1624"/>
                  </a:lnTo>
                  <a:lnTo>
                    <a:pt x="21005" y="4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8100" tIns="38100" rIns="38100" bIns="38100" anchor="ctr"/>
            <a:lstStyle>
              <a:defPPr>
                <a:defRPr lang="fr-FR"/>
              </a:defPPr>
              <a:lvl1pPr marL="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4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 sz="3000">
                  <a:solidFill>
                    <a:srgbClr val="FFFFFF"/>
                  </a:solidFill>
                </a:defRPr>
              </a:pPr>
              <a:r>
                <a:rPr lang="fr-CA" sz="2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VSC</a:t>
              </a:r>
              <a:endParaRPr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2" name="Shape">
              <a:extLst>
                <a:ext uri="{FF2B5EF4-FFF2-40B4-BE49-F238E27FC236}">
                  <a16:creationId xmlns:a16="http://schemas.microsoft.com/office/drawing/2014/main" id="{D53C4485-F0D0-4CE2-AAFF-D3F2A3A88DFF}"/>
                </a:ext>
              </a:extLst>
            </p:cNvPr>
            <p:cNvSpPr/>
            <p:nvPr/>
          </p:nvSpPr>
          <p:spPr>
            <a:xfrm>
              <a:off x="1417364" y="3048452"/>
              <a:ext cx="2756620" cy="10689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cubicBezTo>
                    <a:pt x="21197" y="1790"/>
                    <a:pt x="20794" y="3610"/>
                    <a:pt x="20413" y="5400"/>
                  </a:cubicBezTo>
                  <a:cubicBezTo>
                    <a:pt x="20032" y="7219"/>
                    <a:pt x="19663" y="9010"/>
                    <a:pt x="19305" y="10829"/>
                  </a:cubicBezTo>
                  <a:cubicBezTo>
                    <a:pt x="18946" y="12648"/>
                    <a:pt x="18599" y="14439"/>
                    <a:pt x="18274" y="16229"/>
                  </a:cubicBezTo>
                  <a:cubicBezTo>
                    <a:pt x="17938" y="18019"/>
                    <a:pt x="17625" y="19810"/>
                    <a:pt x="17311" y="21600"/>
                  </a:cubicBezTo>
                  <a:lnTo>
                    <a:pt x="3930" y="21600"/>
                  </a:lnTo>
                  <a:cubicBezTo>
                    <a:pt x="3639" y="19896"/>
                    <a:pt x="3348" y="18164"/>
                    <a:pt x="3035" y="16431"/>
                  </a:cubicBezTo>
                  <a:cubicBezTo>
                    <a:pt x="2732" y="14698"/>
                    <a:pt x="2407" y="12995"/>
                    <a:pt x="2083" y="11291"/>
                  </a:cubicBezTo>
                  <a:cubicBezTo>
                    <a:pt x="1758" y="9587"/>
                    <a:pt x="1422" y="7883"/>
                    <a:pt x="1075" y="6180"/>
                  </a:cubicBezTo>
                  <a:cubicBezTo>
                    <a:pt x="728" y="4505"/>
                    <a:pt x="370" y="2801"/>
                    <a:pt x="0" y="1155"/>
                  </a:cubicBezTo>
                  <a:lnTo>
                    <a:pt x="2160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8100" tIns="38100" rIns="38100" bIns="38100" anchor="ctr"/>
            <a:lstStyle>
              <a:defPPr>
                <a:defRPr lang="fr-FR"/>
              </a:defPPr>
              <a:lvl1pPr marL="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4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 sz="3000">
                  <a:solidFill>
                    <a:srgbClr val="FFFFFF"/>
                  </a:solidFill>
                </a:defRPr>
              </a:pPr>
              <a:r>
                <a:rPr lang="fr-CA" sz="24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VS</a:t>
              </a:r>
              <a:endParaRPr sz="2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2" name="Group 41">
            <a:extLst>
              <a:ext uri="{FF2B5EF4-FFF2-40B4-BE49-F238E27FC236}">
                <a16:creationId xmlns:a16="http://schemas.microsoft.com/office/drawing/2014/main" id="{B19D482E-3CDE-D441-88D7-0B7B2A46987F}"/>
              </a:ext>
            </a:extLst>
          </p:cNvPr>
          <p:cNvGrpSpPr/>
          <p:nvPr/>
        </p:nvGrpSpPr>
        <p:grpSpPr>
          <a:xfrm>
            <a:off x="3206519" y="2085561"/>
            <a:ext cx="4461196" cy="629813"/>
            <a:chOff x="319755" y="4412302"/>
            <a:chExt cx="2088994" cy="629813"/>
          </a:xfrm>
        </p:grpSpPr>
        <p:sp>
          <p:nvSpPr>
            <p:cNvPr id="29" name="TextBox 42">
              <a:extLst>
                <a:ext uri="{FF2B5EF4-FFF2-40B4-BE49-F238E27FC236}">
                  <a16:creationId xmlns:a16="http://schemas.microsoft.com/office/drawing/2014/main" id="{D18364AD-B6DE-2245-9EC6-1DFF68A299B3}"/>
                </a:ext>
              </a:extLst>
            </p:cNvPr>
            <p:cNvSpPr txBox="1"/>
            <p:nvPr/>
          </p:nvSpPr>
          <p:spPr>
            <a:xfrm>
              <a:off x="319755" y="4412302"/>
              <a:ext cx="2088993" cy="369332"/>
            </a:xfrm>
            <a:prstGeom prst="rect">
              <a:avLst/>
            </a:prstGeom>
            <a:noFill/>
          </p:spPr>
          <p:txBody>
            <a:bodyPr wrap="square" lIns="0" rtlCol="0" anchor="b">
              <a:spAutoFit/>
            </a:bodyPr>
            <a:lstStyle>
              <a:defPPr>
                <a:defRPr lang="fr-FR"/>
              </a:defPPr>
              <a:lvl1pPr marL="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4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="1" noProof="1">
                  <a:solidFill>
                    <a:schemeClr val="accent4">
                      <a:lumMod val="75000"/>
                    </a:schemeClr>
                  </a:solidFill>
                </a:rPr>
                <a:t>Visual Studio Code (VSC)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65FA194-25C5-AC49-97F4-F488E0335B02}"/>
                </a:ext>
              </a:extLst>
            </p:cNvPr>
            <p:cNvSpPr/>
            <p:nvPr/>
          </p:nvSpPr>
          <p:spPr>
            <a:xfrm>
              <a:off x="319756" y="4765116"/>
              <a:ext cx="2088993" cy="276999"/>
            </a:xfrm>
            <a:prstGeom prst="rect">
              <a:avLst/>
            </a:prstGeom>
          </p:spPr>
          <p:txBody>
            <a:bodyPr wrap="square" lIns="0">
              <a:spAutoFit/>
            </a:bodyPr>
            <a:lstStyle>
              <a:defPPr>
                <a:defRPr lang="fr-FR"/>
              </a:defPPr>
              <a:lvl1pPr marL="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4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200" noProof="1"/>
                <a:t>Installation de la dotnet et de l’editeur de texte</a:t>
              </a:r>
            </a:p>
          </p:txBody>
        </p:sp>
      </p:grpSp>
      <p:sp>
        <p:nvSpPr>
          <p:cNvPr id="10" name="Shape">
            <a:extLst>
              <a:ext uri="{FF2B5EF4-FFF2-40B4-BE49-F238E27FC236}">
                <a16:creationId xmlns:a16="http://schemas.microsoft.com/office/drawing/2014/main" id="{D8723C89-4E28-12E5-07AD-E359246CF3C4}"/>
              </a:ext>
            </a:extLst>
          </p:cNvPr>
          <p:cNvSpPr/>
          <p:nvPr/>
        </p:nvSpPr>
        <p:spPr>
          <a:xfrm>
            <a:off x="8548483" y="2681291"/>
            <a:ext cx="2584243" cy="12395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2" h="21577" extrusionOk="0">
                <a:moveTo>
                  <a:pt x="21005" y="4"/>
                </a:moveTo>
                <a:cubicBezTo>
                  <a:pt x="21131" y="-23"/>
                  <a:pt x="21242" y="110"/>
                  <a:pt x="21331" y="322"/>
                </a:cubicBezTo>
                <a:cubicBezTo>
                  <a:pt x="21420" y="535"/>
                  <a:pt x="21495" y="854"/>
                  <a:pt x="21532" y="1226"/>
                </a:cubicBezTo>
                <a:cubicBezTo>
                  <a:pt x="21576" y="1598"/>
                  <a:pt x="21591" y="2023"/>
                  <a:pt x="21576" y="2421"/>
                </a:cubicBezTo>
                <a:cubicBezTo>
                  <a:pt x="21561" y="2846"/>
                  <a:pt x="21517" y="3245"/>
                  <a:pt x="21428" y="3617"/>
                </a:cubicBezTo>
                <a:cubicBezTo>
                  <a:pt x="21124" y="4945"/>
                  <a:pt x="20827" y="6274"/>
                  <a:pt x="20538" y="7629"/>
                </a:cubicBezTo>
                <a:cubicBezTo>
                  <a:pt x="20249" y="8984"/>
                  <a:pt x="19967" y="10365"/>
                  <a:pt x="19693" y="11773"/>
                </a:cubicBezTo>
                <a:cubicBezTo>
                  <a:pt x="19418" y="13181"/>
                  <a:pt x="19151" y="14590"/>
                  <a:pt x="18892" y="15998"/>
                </a:cubicBezTo>
                <a:cubicBezTo>
                  <a:pt x="18632" y="17432"/>
                  <a:pt x="18380" y="18867"/>
                  <a:pt x="18128" y="20302"/>
                </a:cubicBezTo>
                <a:lnTo>
                  <a:pt x="3009" y="21577"/>
                </a:lnTo>
                <a:cubicBezTo>
                  <a:pt x="2786" y="20249"/>
                  <a:pt x="2564" y="18947"/>
                  <a:pt x="2334" y="17645"/>
                </a:cubicBezTo>
                <a:cubicBezTo>
                  <a:pt x="2104" y="16343"/>
                  <a:pt x="1867" y="15094"/>
                  <a:pt x="1630" y="13846"/>
                </a:cubicBezTo>
                <a:cubicBezTo>
                  <a:pt x="1392" y="12597"/>
                  <a:pt x="1148" y="11375"/>
                  <a:pt x="896" y="10179"/>
                </a:cubicBezTo>
                <a:cubicBezTo>
                  <a:pt x="644" y="8984"/>
                  <a:pt x="391" y="7815"/>
                  <a:pt x="132" y="6672"/>
                </a:cubicBezTo>
                <a:cubicBezTo>
                  <a:pt x="58" y="6353"/>
                  <a:pt x="21" y="5981"/>
                  <a:pt x="6" y="5609"/>
                </a:cubicBezTo>
                <a:cubicBezTo>
                  <a:pt x="-9" y="5238"/>
                  <a:pt x="6" y="4839"/>
                  <a:pt x="43" y="4494"/>
                </a:cubicBezTo>
                <a:cubicBezTo>
                  <a:pt x="80" y="4148"/>
                  <a:pt x="139" y="3829"/>
                  <a:pt x="213" y="3590"/>
                </a:cubicBezTo>
                <a:cubicBezTo>
                  <a:pt x="288" y="3351"/>
                  <a:pt x="384" y="3218"/>
                  <a:pt x="495" y="3192"/>
                </a:cubicBezTo>
                <a:lnTo>
                  <a:pt x="10342" y="1624"/>
                </a:lnTo>
                <a:lnTo>
                  <a:pt x="21005" y="4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8100" tIns="38100" rIns="38100" bIns="38100" anchor="ctr"/>
          <a:lstStyle>
            <a:defPPr>
              <a:defRPr lang="fr-FR"/>
            </a:defPPr>
            <a:lvl1pPr marL="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3000">
                <a:solidFill>
                  <a:srgbClr val="FFFFFF"/>
                </a:solidFill>
              </a:defRPr>
            </a:pPr>
            <a:r>
              <a:rPr lang="fr-CA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cel / VBA</a:t>
            </a:r>
            <a:endParaRPr sz="2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Flèche : droite 10">
            <a:extLst>
              <a:ext uri="{FF2B5EF4-FFF2-40B4-BE49-F238E27FC236}">
                <a16:creationId xmlns:a16="http://schemas.microsoft.com/office/drawing/2014/main" id="{3B04BCB1-583F-9DD1-6515-3BD97518FCD8}"/>
              </a:ext>
            </a:extLst>
          </p:cNvPr>
          <p:cNvSpPr/>
          <p:nvPr/>
        </p:nvSpPr>
        <p:spPr>
          <a:xfrm>
            <a:off x="6129130" y="3474611"/>
            <a:ext cx="1371376" cy="119147"/>
          </a:xfrm>
          <a:prstGeom prst="rightArrow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973955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063EE3-78DE-5E92-8230-BDD2C8B97F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oneTexte 11">
            <a:extLst>
              <a:ext uri="{FF2B5EF4-FFF2-40B4-BE49-F238E27FC236}">
                <a16:creationId xmlns:a16="http://schemas.microsoft.com/office/drawing/2014/main" id="{A824AE0A-6D55-8BAC-2641-1F92F10B2EA0}"/>
              </a:ext>
            </a:extLst>
          </p:cNvPr>
          <p:cNvSpPr txBox="1"/>
          <p:nvPr/>
        </p:nvSpPr>
        <p:spPr>
          <a:xfrm>
            <a:off x="1598213" y="0"/>
            <a:ext cx="301329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 LEVEL REVIEW OF PROJECT FINANCING </a:t>
            </a:r>
          </a:p>
        </p:txBody>
      </p:sp>
      <p:sp>
        <p:nvSpPr>
          <p:cNvPr id="9" name="Titre 2">
            <a:extLst>
              <a:ext uri="{FF2B5EF4-FFF2-40B4-BE49-F238E27FC236}">
                <a16:creationId xmlns:a16="http://schemas.microsoft.com/office/drawing/2014/main" id="{388913EA-92A8-3DDE-C9FC-4FBB405C0B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9451"/>
            <a:ext cx="10581860" cy="720000"/>
          </a:xfrm>
        </p:spPr>
        <p:txBody>
          <a:bodyPr>
            <a:normAutofit/>
          </a:bodyPr>
          <a:lstStyle/>
          <a:p>
            <a:r>
              <a:rPr lang="en-GB" sz="2400" b="1" cap="small" dirty="0">
                <a:solidFill>
                  <a:schemeClr val="tx1">
                    <a:lumMod val="95000"/>
                    <a:lumOff val="5000"/>
                  </a:schemeClr>
                </a:solidFill>
              </a:rPr>
              <a:t>Déploiement de travail</a:t>
            </a:r>
            <a:endParaRPr lang="en-GB" sz="2200" b="1" cap="small" dirty="0">
              <a:solidFill>
                <a:schemeClr val="accent2"/>
              </a:solidFill>
            </a:endParaRPr>
          </a:p>
        </p:txBody>
      </p:sp>
      <p:pic>
        <p:nvPicPr>
          <p:cNvPr id="37" name="Graphique 36" descr="Badge 1 avec un remplissage uni">
            <a:extLst>
              <a:ext uri="{FF2B5EF4-FFF2-40B4-BE49-F238E27FC236}">
                <a16:creationId xmlns:a16="http://schemas.microsoft.com/office/drawing/2014/main" id="{E36C769B-5629-21F5-B9FA-26674E3E5E1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386001" y="-1352476"/>
            <a:ext cx="163049" cy="163049"/>
          </a:xfrm>
          <a:prstGeom prst="rect">
            <a:avLst/>
          </a:prstGeom>
        </p:spPr>
      </p:pic>
      <p:pic>
        <p:nvPicPr>
          <p:cNvPr id="1027" name="Picture 3">
            <a:hlinkClick r:id="rId5"/>
            <a:extLst>
              <a:ext uri="{FF2B5EF4-FFF2-40B4-BE49-F238E27FC236}">
                <a16:creationId xmlns:a16="http://schemas.microsoft.com/office/drawing/2014/main" id="{277FB05A-9BE0-3EAF-B723-468C9F749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5663" y="-14636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: Shape 29">
            <a:extLst>
              <a:ext uri="{FF2B5EF4-FFF2-40B4-BE49-F238E27FC236}">
                <a16:creationId xmlns:a16="http://schemas.microsoft.com/office/drawing/2014/main" id="{A03E85F2-8B4A-8C4E-BDCF-E0DEF503DCC9}"/>
              </a:ext>
            </a:extLst>
          </p:cNvPr>
          <p:cNvSpPr/>
          <p:nvPr/>
        </p:nvSpPr>
        <p:spPr>
          <a:xfrm>
            <a:off x="7407337" y="1717602"/>
            <a:ext cx="2296226" cy="929018"/>
          </a:xfrm>
          <a:custGeom>
            <a:avLst/>
            <a:gdLst>
              <a:gd name="connsiteX0" fmla="*/ 963542 w 2667589"/>
              <a:gd name="connsiteY0" fmla="*/ 0 h 1032239"/>
              <a:gd name="connsiteX1" fmla="*/ 2188668 w 2667589"/>
              <a:gd name="connsiteY1" fmla="*/ 120502 h 1032239"/>
              <a:gd name="connsiteX2" fmla="*/ 2667589 w 2667589"/>
              <a:gd name="connsiteY2" fmla="*/ 111789 h 1032239"/>
              <a:gd name="connsiteX3" fmla="*/ 2605134 w 2667589"/>
              <a:gd name="connsiteY3" fmla="*/ 222129 h 1032239"/>
              <a:gd name="connsiteX4" fmla="*/ 2463729 w 2667589"/>
              <a:gd name="connsiteY4" fmla="*/ 491196 h 1032239"/>
              <a:gd name="connsiteX5" fmla="*/ 2332152 w 2667589"/>
              <a:gd name="connsiteY5" fmla="*/ 758827 h 1032239"/>
              <a:gd name="connsiteX6" fmla="*/ 2209253 w 2667589"/>
              <a:gd name="connsiteY6" fmla="*/ 1025019 h 1032239"/>
              <a:gd name="connsiteX7" fmla="*/ 2205391 w 2667589"/>
              <a:gd name="connsiteY7" fmla="*/ 1032239 h 1032239"/>
              <a:gd name="connsiteX8" fmla="*/ 501554 w 2667589"/>
              <a:gd name="connsiteY8" fmla="*/ 1032239 h 1032239"/>
              <a:gd name="connsiteX9" fmla="*/ 387305 w 2667589"/>
              <a:gd name="connsiteY9" fmla="*/ 776415 h 1032239"/>
              <a:gd name="connsiteX10" fmla="*/ 265876 w 2667589"/>
              <a:gd name="connsiteY10" fmla="*/ 522083 h 1032239"/>
              <a:gd name="connsiteX11" fmla="*/ 137267 w 2667589"/>
              <a:gd name="connsiteY11" fmla="*/ 269145 h 1032239"/>
              <a:gd name="connsiteX12" fmla="*/ 0 w 2667589"/>
              <a:gd name="connsiteY12" fmla="*/ 20486 h 1032239"/>
              <a:gd name="connsiteX13" fmla="*/ 963542 w 2667589"/>
              <a:gd name="connsiteY13" fmla="*/ 0 h 1032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667589" h="1032239">
                <a:moveTo>
                  <a:pt x="963542" y="0"/>
                </a:moveTo>
                <a:lnTo>
                  <a:pt x="2188668" y="120502"/>
                </a:lnTo>
                <a:lnTo>
                  <a:pt x="2667589" y="111789"/>
                </a:lnTo>
                <a:lnTo>
                  <a:pt x="2605134" y="222129"/>
                </a:lnTo>
                <a:cubicBezTo>
                  <a:pt x="2556510" y="312281"/>
                  <a:pt x="2509418" y="401044"/>
                  <a:pt x="2463729" y="491196"/>
                </a:cubicBezTo>
                <a:cubicBezTo>
                  <a:pt x="2417913" y="581348"/>
                  <a:pt x="2373629" y="670112"/>
                  <a:pt x="2332152" y="758827"/>
                </a:cubicBezTo>
                <a:cubicBezTo>
                  <a:pt x="2289271" y="847541"/>
                  <a:pt x="2249326" y="936305"/>
                  <a:pt x="2209253" y="1025019"/>
                </a:cubicBezTo>
                <a:lnTo>
                  <a:pt x="2205391" y="1032239"/>
                </a:lnTo>
                <a:lnTo>
                  <a:pt x="501554" y="1032239"/>
                </a:lnTo>
                <a:cubicBezTo>
                  <a:pt x="464386" y="946466"/>
                  <a:pt x="427218" y="862187"/>
                  <a:pt x="387305" y="776415"/>
                </a:cubicBezTo>
                <a:cubicBezTo>
                  <a:pt x="348659" y="692135"/>
                  <a:pt x="307268" y="606363"/>
                  <a:pt x="265876" y="522083"/>
                </a:cubicBezTo>
                <a:cubicBezTo>
                  <a:pt x="224274" y="437754"/>
                  <a:pt x="181404" y="353425"/>
                  <a:pt x="137267" y="269145"/>
                </a:cubicBezTo>
                <a:cubicBezTo>
                  <a:pt x="92919" y="186259"/>
                  <a:pt x="47093" y="101929"/>
                  <a:pt x="0" y="20486"/>
                </a:cubicBezTo>
                <a:lnTo>
                  <a:pt x="96354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38100" tIns="38100" rIns="540000" bIns="38100" anchor="ctr">
            <a:noAutofit/>
          </a:bodyPr>
          <a:lstStyle>
            <a:defPPr>
              <a:defRPr lang="fr-FR"/>
            </a:defPPr>
            <a:lvl1pPr marL="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3000">
                <a:solidFill>
                  <a:srgbClr val="FFFFFF"/>
                </a:solidFill>
              </a:defRPr>
            </a:pPr>
            <a:r>
              <a:rPr lang="fr-FR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b</a:t>
            </a:r>
            <a:endParaRPr sz="4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6" name="Shape">
            <a:extLst>
              <a:ext uri="{FF2B5EF4-FFF2-40B4-BE49-F238E27FC236}">
                <a16:creationId xmlns:a16="http://schemas.microsoft.com/office/drawing/2014/main" id="{83D285A7-3222-2D3F-6E01-A3AFB911955C}"/>
              </a:ext>
            </a:extLst>
          </p:cNvPr>
          <p:cNvSpPr/>
          <p:nvPr/>
        </p:nvSpPr>
        <p:spPr>
          <a:xfrm>
            <a:off x="7639250" y="4039633"/>
            <a:ext cx="2372862" cy="962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21197" y="1790"/>
                  <a:pt x="20794" y="3610"/>
                  <a:pt x="20413" y="5400"/>
                </a:cubicBezTo>
                <a:cubicBezTo>
                  <a:pt x="20032" y="7219"/>
                  <a:pt x="19663" y="9010"/>
                  <a:pt x="19305" y="10829"/>
                </a:cubicBezTo>
                <a:cubicBezTo>
                  <a:pt x="18946" y="12648"/>
                  <a:pt x="18599" y="14439"/>
                  <a:pt x="18274" y="16229"/>
                </a:cubicBezTo>
                <a:cubicBezTo>
                  <a:pt x="17938" y="18019"/>
                  <a:pt x="17625" y="19810"/>
                  <a:pt x="17311" y="21600"/>
                </a:cubicBezTo>
                <a:lnTo>
                  <a:pt x="3930" y="21600"/>
                </a:lnTo>
                <a:cubicBezTo>
                  <a:pt x="3639" y="19896"/>
                  <a:pt x="3348" y="18164"/>
                  <a:pt x="3035" y="16431"/>
                </a:cubicBezTo>
                <a:cubicBezTo>
                  <a:pt x="2732" y="14698"/>
                  <a:pt x="2407" y="12995"/>
                  <a:pt x="2083" y="11291"/>
                </a:cubicBezTo>
                <a:cubicBezTo>
                  <a:pt x="1758" y="9587"/>
                  <a:pt x="1422" y="7883"/>
                  <a:pt x="1075" y="6180"/>
                </a:cubicBezTo>
                <a:cubicBezTo>
                  <a:pt x="728" y="4505"/>
                  <a:pt x="370" y="2801"/>
                  <a:pt x="0" y="1155"/>
                </a:cubicBezTo>
                <a:lnTo>
                  <a:pt x="2160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8100" tIns="38100" rIns="38100" bIns="38100" anchor="ctr"/>
          <a:lstStyle>
            <a:defPPr>
              <a:defRPr lang="fr-FR"/>
            </a:defPPr>
            <a:lvl1pPr marL="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3000">
                <a:solidFill>
                  <a:srgbClr val="FFFFFF"/>
                </a:solidFill>
              </a:defRPr>
            </a:pPr>
            <a:r>
              <a:rPr lang="fr-CA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cel</a:t>
            </a:r>
            <a:endParaRPr sz="4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39" name="Groupe 38">
            <a:extLst>
              <a:ext uri="{FF2B5EF4-FFF2-40B4-BE49-F238E27FC236}">
                <a16:creationId xmlns:a16="http://schemas.microsoft.com/office/drawing/2014/main" id="{A2848DD1-C6F2-8365-68B4-F67542AD7475}"/>
              </a:ext>
            </a:extLst>
          </p:cNvPr>
          <p:cNvGrpSpPr/>
          <p:nvPr/>
        </p:nvGrpSpPr>
        <p:grpSpPr>
          <a:xfrm>
            <a:off x="5008154" y="2705543"/>
            <a:ext cx="2393063" cy="1085435"/>
            <a:chOff x="5174851" y="3003817"/>
            <a:chExt cx="1393569" cy="1085435"/>
          </a:xfrm>
          <a:solidFill>
            <a:schemeClr val="bg2">
              <a:lumMod val="50000"/>
            </a:schemeClr>
          </a:solidFill>
        </p:grpSpPr>
        <p:sp>
          <p:nvSpPr>
            <p:cNvPr id="35" name="Flèche : droite 34">
              <a:extLst>
                <a:ext uri="{FF2B5EF4-FFF2-40B4-BE49-F238E27FC236}">
                  <a16:creationId xmlns:a16="http://schemas.microsoft.com/office/drawing/2014/main" id="{83FCA8BE-7152-272C-FEFC-C46640A49038}"/>
                </a:ext>
              </a:extLst>
            </p:cNvPr>
            <p:cNvSpPr/>
            <p:nvPr/>
          </p:nvSpPr>
          <p:spPr>
            <a:xfrm rot="20272672">
              <a:off x="5197044" y="3003817"/>
              <a:ext cx="1371376" cy="119147"/>
            </a:xfrm>
            <a:prstGeom prst="rightArrow">
              <a:avLst/>
            </a:prstGeom>
            <a:grpFill/>
            <a:ln>
              <a:noFill/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8" name="Flèche : droite 37">
              <a:extLst>
                <a:ext uri="{FF2B5EF4-FFF2-40B4-BE49-F238E27FC236}">
                  <a16:creationId xmlns:a16="http://schemas.microsoft.com/office/drawing/2014/main" id="{9420E002-8B71-DD5D-256F-E762678541CC}"/>
                </a:ext>
              </a:extLst>
            </p:cNvPr>
            <p:cNvSpPr/>
            <p:nvPr/>
          </p:nvSpPr>
          <p:spPr>
            <a:xfrm rot="1554599">
              <a:off x="5174851" y="3970105"/>
              <a:ext cx="1371376" cy="119147"/>
            </a:xfrm>
            <a:prstGeom prst="rightArrow">
              <a:avLst/>
            </a:prstGeom>
            <a:grpFill/>
            <a:ln>
              <a:noFill/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5" name="Shape">
            <a:extLst>
              <a:ext uri="{FF2B5EF4-FFF2-40B4-BE49-F238E27FC236}">
                <a16:creationId xmlns:a16="http://schemas.microsoft.com/office/drawing/2014/main" id="{CC024843-E61C-01CC-489D-50CA77741823}"/>
              </a:ext>
            </a:extLst>
          </p:cNvPr>
          <p:cNvSpPr/>
          <p:nvPr/>
        </p:nvSpPr>
        <p:spPr>
          <a:xfrm flipH="1">
            <a:off x="1598213" y="2312504"/>
            <a:ext cx="2739035" cy="15961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2" h="21577" extrusionOk="0">
                <a:moveTo>
                  <a:pt x="21005" y="4"/>
                </a:moveTo>
                <a:cubicBezTo>
                  <a:pt x="21131" y="-23"/>
                  <a:pt x="21242" y="110"/>
                  <a:pt x="21331" y="322"/>
                </a:cubicBezTo>
                <a:cubicBezTo>
                  <a:pt x="21420" y="535"/>
                  <a:pt x="21495" y="854"/>
                  <a:pt x="21532" y="1226"/>
                </a:cubicBezTo>
                <a:cubicBezTo>
                  <a:pt x="21576" y="1598"/>
                  <a:pt x="21591" y="2023"/>
                  <a:pt x="21576" y="2421"/>
                </a:cubicBezTo>
                <a:cubicBezTo>
                  <a:pt x="21561" y="2846"/>
                  <a:pt x="21517" y="3245"/>
                  <a:pt x="21428" y="3617"/>
                </a:cubicBezTo>
                <a:cubicBezTo>
                  <a:pt x="21124" y="4945"/>
                  <a:pt x="20827" y="6274"/>
                  <a:pt x="20538" y="7629"/>
                </a:cubicBezTo>
                <a:cubicBezTo>
                  <a:pt x="20249" y="8984"/>
                  <a:pt x="19967" y="10365"/>
                  <a:pt x="19693" y="11773"/>
                </a:cubicBezTo>
                <a:cubicBezTo>
                  <a:pt x="19418" y="13181"/>
                  <a:pt x="19151" y="14590"/>
                  <a:pt x="18892" y="15998"/>
                </a:cubicBezTo>
                <a:cubicBezTo>
                  <a:pt x="18632" y="17432"/>
                  <a:pt x="18380" y="18867"/>
                  <a:pt x="18128" y="20302"/>
                </a:cubicBezTo>
                <a:lnTo>
                  <a:pt x="3009" y="21577"/>
                </a:lnTo>
                <a:cubicBezTo>
                  <a:pt x="2786" y="20249"/>
                  <a:pt x="2564" y="18947"/>
                  <a:pt x="2334" y="17645"/>
                </a:cubicBezTo>
                <a:cubicBezTo>
                  <a:pt x="2104" y="16343"/>
                  <a:pt x="1867" y="15094"/>
                  <a:pt x="1630" y="13846"/>
                </a:cubicBezTo>
                <a:cubicBezTo>
                  <a:pt x="1392" y="12597"/>
                  <a:pt x="1148" y="11375"/>
                  <a:pt x="896" y="10179"/>
                </a:cubicBezTo>
                <a:cubicBezTo>
                  <a:pt x="644" y="8984"/>
                  <a:pt x="391" y="7815"/>
                  <a:pt x="132" y="6672"/>
                </a:cubicBezTo>
                <a:cubicBezTo>
                  <a:pt x="58" y="6353"/>
                  <a:pt x="21" y="5981"/>
                  <a:pt x="6" y="5609"/>
                </a:cubicBezTo>
                <a:cubicBezTo>
                  <a:pt x="-9" y="5238"/>
                  <a:pt x="6" y="4839"/>
                  <a:pt x="43" y="4494"/>
                </a:cubicBezTo>
                <a:cubicBezTo>
                  <a:pt x="80" y="4148"/>
                  <a:pt x="139" y="3829"/>
                  <a:pt x="213" y="3590"/>
                </a:cubicBezTo>
                <a:cubicBezTo>
                  <a:pt x="288" y="3351"/>
                  <a:pt x="384" y="3218"/>
                  <a:pt x="495" y="3192"/>
                </a:cubicBezTo>
                <a:lnTo>
                  <a:pt x="10342" y="1624"/>
                </a:lnTo>
                <a:lnTo>
                  <a:pt x="21005" y="4"/>
                </a:lnTo>
                <a:close/>
              </a:path>
            </a:pathLst>
          </a:cu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8100" tIns="38100" rIns="38100" bIns="38100" anchor="ctr"/>
          <a:lstStyle>
            <a:defPPr>
              <a:defRPr lang="fr-FR"/>
            </a:defPPr>
            <a:lvl1pPr marL="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3000">
                <a:solidFill>
                  <a:srgbClr val="FFFFFF"/>
                </a:solidFill>
              </a:defRPr>
            </a:pPr>
            <a:r>
              <a:rPr lang="fr-CA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se en production</a:t>
            </a:r>
          </a:p>
        </p:txBody>
      </p:sp>
      <p:pic>
        <p:nvPicPr>
          <p:cNvPr id="1024" name="Image 1023" descr="Une image contenant habits, costume, personne, homme&#10;&#10;Description générée automatiquement">
            <a:extLst>
              <a:ext uri="{FF2B5EF4-FFF2-40B4-BE49-F238E27FC236}">
                <a16:creationId xmlns:a16="http://schemas.microsoft.com/office/drawing/2014/main" id="{DC063216-FD54-EA84-4AB3-1103022B7B2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9696" y="4026034"/>
            <a:ext cx="1636776" cy="1962877"/>
          </a:xfrm>
          <a:prstGeom prst="rect">
            <a:avLst/>
          </a:prstGeom>
        </p:spPr>
      </p:pic>
      <p:sp>
        <p:nvSpPr>
          <p:cNvPr id="1037" name="Ellipse 1036">
            <a:extLst>
              <a:ext uri="{FF2B5EF4-FFF2-40B4-BE49-F238E27FC236}">
                <a16:creationId xmlns:a16="http://schemas.microsoft.com/office/drawing/2014/main" id="{736776B7-F77E-5C90-7B34-223D35C17DCA}"/>
              </a:ext>
            </a:extLst>
          </p:cNvPr>
          <p:cNvSpPr/>
          <p:nvPr/>
        </p:nvSpPr>
        <p:spPr>
          <a:xfrm>
            <a:off x="10293738" y="4157913"/>
            <a:ext cx="989380" cy="599481"/>
          </a:xfrm>
          <a:prstGeom prst="ellipse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100"/>
              </a:lnSpc>
            </a:pPr>
            <a:r>
              <a:rPr lang="fr-FR" sz="1200" b="1" dirty="0" err="1">
                <a:solidFill>
                  <a:sysClr val="windowText" lastClr="000000"/>
                </a:solidFill>
              </a:rPr>
              <a:t>Done</a:t>
            </a:r>
            <a:endParaRPr lang="fr-FR" sz="1200" b="1" dirty="0">
              <a:solidFill>
                <a:sysClr val="windowText" lastClr="000000"/>
              </a:solidFill>
            </a:endParaRPr>
          </a:p>
        </p:txBody>
      </p:sp>
      <p:sp>
        <p:nvSpPr>
          <p:cNvPr id="1038" name="Ellipse 1037">
            <a:extLst>
              <a:ext uri="{FF2B5EF4-FFF2-40B4-BE49-F238E27FC236}">
                <a16:creationId xmlns:a16="http://schemas.microsoft.com/office/drawing/2014/main" id="{C5FC95D9-1987-1726-02F1-135006BCBBB3}"/>
              </a:ext>
            </a:extLst>
          </p:cNvPr>
          <p:cNvSpPr/>
          <p:nvPr/>
        </p:nvSpPr>
        <p:spPr>
          <a:xfrm>
            <a:off x="10132676" y="1880893"/>
            <a:ext cx="1043776" cy="606793"/>
          </a:xfrm>
          <a:prstGeom prst="ellipse">
            <a:avLst/>
          </a:prstGeom>
          <a:solidFill>
            <a:srgbClr val="C00000">
              <a:alpha val="5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lnSpc>
                <a:spcPts val="1100"/>
              </a:lnSpc>
            </a:pPr>
            <a:r>
              <a:rPr lang="fr-FR" sz="1200" b="1" dirty="0">
                <a:solidFill>
                  <a:srgbClr val="F2F2F2"/>
                </a:solidFill>
                <a:cs typeface="Calibri"/>
              </a:rPr>
              <a:t>In </a:t>
            </a:r>
            <a:r>
              <a:rPr lang="fr-FR" sz="1200" b="1" dirty="0" err="1">
                <a:solidFill>
                  <a:srgbClr val="F2F2F2"/>
                </a:solidFill>
                <a:cs typeface="Calibri"/>
              </a:rPr>
              <a:t>progress</a:t>
            </a:r>
            <a:endParaRPr lang="fr-FR" sz="1200" b="1" dirty="0" err="1">
              <a:solidFill>
                <a:srgbClr val="F2F2F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53276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F0A95B-259C-EF7B-EB46-3848F77F41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2" name="Image 1051" descr="Une image contenant habits, costume, personne, homme&#10;&#10;Description générée automatiquement">
            <a:extLst>
              <a:ext uri="{FF2B5EF4-FFF2-40B4-BE49-F238E27FC236}">
                <a16:creationId xmlns:a16="http://schemas.microsoft.com/office/drawing/2014/main" id="{1B6CFF55-91A5-70B4-1FCD-19E33D15D20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4211" y="4201718"/>
            <a:ext cx="1184711" cy="1420745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0B4FE861-9F3A-AD0E-9146-7CA401ACEA42}"/>
              </a:ext>
            </a:extLst>
          </p:cNvPr>
          <p:cNvSpPr txBox="1"/>
          <p:nvPr/>
        </p:nvSpPr>
        <p:spPr>
          <a:xfrm>
            <a:off x="1598213" y="0"/>
            <a:ext cx="301329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 LEVEL REVIEW OF PROJECT FINANCING </a:t>
            </a:r>
          </a:p>
        </p:txBody>
      </p:sp>
      <p:sp>
        <p:nvSpPr>
          <p:cNvPr id="9" name="Titre 2">
            <a:extLst>
              <a:ext uri="{FF2B5EF4-FFF2-40B4-BE49-F238E27FC236}">
                <a16:creationId xmlns:a16="http://schemas.microsoft.com/office/drawing/2014/main" id="{96307FB2-8F89-EDF9-8102-1B5278966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9451"/>
            <a:ext cx="10581860" cy="720000"/>
          </a:xfrm>
        </p:spPr>
        <p:txBody>
          <a:bodyPr>
            <a:normAutofit/>
          </a:bodyPr>
          <a:lstStyle/>
          <a:p>
            <a:r>
              <a:rPr lang="en-GB" sz="2400" b="1" cap="small">
                <a:solidFill>
                  <a:schemeClr val="tx1">
                    <a:lumMod val="95000"/>
                    <a:lumOff val="5000"/>
                  </a:schemeClr>
                </a:solidFill>
              </a:rPr>
              <a:t>Déploiement de travail</a:t>
            </a:r>
            <a:endParaRPr lang="en-GB" sz="2200" b="1" cap="small" dirty="0">
              <a:solidFill>
                <a:schemeClr val="accent2"/>
              </a:solidFill>
            </a:endParaRPr>
          </a:p>
        </p:txBody>
      </p:sp>
      <p:pic>
        <p:nvPicPr>
          <p:cNvPr id="37" name="Graphique 36" descr="Badge 1 avec un remplissage uni">
            <a:extLst>
              <a:ext uri="{FF2B5EF4-FFF2-40B4-BE49-F238E27FC236}">
                <a16:creationId xmlns:a16="http://schemas.microsoft.com/office/drawing/2014/main" id="{9942AE33-DC53-1D64-2CBB-4E8F65CF29C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86001" y="-1352476"/>
            <a:ext cx="163049" cy="163049"/>
          </a:xfrm>
          <a:prstGeom prst="rect">
            <a:avLst/>
          </a:prstGeom>
        </p:spPr>
      </p:pic>
      <p:pic>
        <p:nvPicPr>
          <p:cNvPr id="1027" name="Picture 3">
            <a:hlinkClick r:id="rId6"/>
            <a:extLst>
              <a:ext uri="{FF2B5EF4-FFF2-40B4-BE49-F238E27FC236}">
                <a16:creationId xmlns:a16="http://schemas.microsoft.com/office/drawing/2014/main" id="{816B7490-C80C-83E3-03F6-159A8C9628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5663" y="-14636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40" name="Groupe 1039">
            <a:extLst>
              <a:ext uri="{FF2B5EF4-FFF2-40B4-BE49-F238E27FC236}">
                <a16:creationId xmlns:a16="http://schemas.microsoft.com/office/drawing/2014/main" id="{B103496A-0B3A-0E88-E5ED-F944BBB16CA2}"/>
              </a:ext>
            </a:extLst>
          </p:cNvPr>
          <p:cNvGrpSpPr/>
          <p:nvPr/>
        </p:nvGrpSpPr>
        <p:grpSpPr>
          <a:xfrm>
            <a:off x="127675" y="2048173"/>
            <a:ext cx="11936645" cy="2761659"/>
            <a:chOff x="106547" y="1805659"/>
            <a:chExt cx="11936645" cy="2761659"/>
          </a:xfrm>
        </p:grpSpPr>
        <p:grpSp>
          <p:nvGrpSpPr>
            <p:cNvPr id="1025" name="Groupe 1024">
              <a:extLst>
                <a:ext uri="{FF2B5EF4-FFF2-40B4-BE49-F238E27FC236}">
                  <a16:creationId xmlns:a16="http://schemas.microsoft.com/office/drawing/2014/main" id="{EBD44091-D896-B958-34B2-C4EF28380461}"/>
                </a:ext>
              </a:extLst>
            </p:cNvPr>
            <p:cNvGrpSpPr/>
            <p:nvPr/>
          </p:nvGrpSpPr>
          <p:grpSpPr>
            <a:xfrm>
              <a:off x="106547" y="1805659"/>
              <a:ext cx="6368472" cy="2761659"/>
              <a:chOff x="106551" y="1805656"/>
              <a:chExt cx="9511818" cy="3303822"/>
            </a:xfrm>
          </p:grpSpPr>
          <p:grpSp>
            <p:nvGrpSpPr>
              <p:cNvPr id="40" name="Group 45">
                <a:extLst>
                  <a:ext uri="{FF2B5EF4-FFF2-40B4-BE49-F238E27FC236}">
                    <a16:creationId xmlns:a16="http://schemas.microsoft.com/office/drawing/2014/main" id="{62D147AD-95D9-CEEB-4784-45D7D5436B1C}"/>
                  </a:ext>
                </a:extLst>
              </p:cNvPr>
              <p:cNvGrpSpPr/>
              <p:nvPr/>
            </p:nvGrpSpPr>
            <p:grpSpPr>
              <a:xfrm>
                <a:off x="2386218" y="4248483"/>
                <a:ext cx="2584245" cy="860995"/>
                <a:chOff x="319755" y="4468665"/>
                <a:chExt cx="2088993" cy="860995"/>
              </a:xfrm>
            </p:grpSpPr>
            <p:sp>
              <p:nvSpPr>
                <p:cNvPr id="41" name="TextBox 46">
                  <a:extLst>
                    <a:ext uri="{FF2B5EF4-FFF2-40B4-BE49-F238E27FC236}">
                      <a16:creationId xmlns:a16="http://schemas.microsoft.com/office/drawing/2014/main" id="{B695FED9-AE26-891B-CD37-57C743CFD984}"/>
                    </a:ext>
                  </a:extLst>
                </p:cNvPr>
                <p:cNvSpPr txBox="1"/>
                <p:nvPr/>
              </p:nvSpPr>
              <p:spPr>
                <a:xfrm>
                  <a:off x="319755" y="4468665"/>
                  <a:ext cx="2088993" cy="312968"/>
                </a:xfrm>
                <a:prstGeom prst="rect">
                  <a:avLst/>
                </a:prstGeom>
                <a:noFill/>
              </p:spPr>
              <p:txBody>
                <a:bodyPr wrap="square" lIns="0" rtlCol="0" anchor="b">
                  <a:spAutoFit/>
                </a:bodyPr>
                <a:lstStyle>
                  <a:defPPr>
                    <a:defRPr lang="fr-FR"/>
                  </a:defPPr>
                  <a:lvl1pPr marL="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7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54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3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09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886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6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4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1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100" b="1" noProof="1">
                      <a:solidFill>
                        <a:schemeClr val="accent1"/>
                      </a:solidFill>
                    </a:rPr>
                    <a:t>Git</a:t>
                  </a:r>
                </a:p>
              </p:txBody>
            </p:sp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069EE3F7-A6F4-123B-F592-1742B2A1A738}"/>
                    </a:ext>
                  </a:extLst>
                </p:cNvPr>
                <p:cNvSpPr/>
                <p:nvPr/>
              </p:nvSpPr>
              <p:spPr>
                <a:xfrm>
                  <a:off x="319755" y="4722133"/>
                  <a:ext cx="2088993" cy="607527"/>
                </a:xfrm>
                <a:prstGeom prst="rect">
                  <a:avLst/>
                </a:prstGeom>
              </p:spPr>
              <p:txBody>
                <a:bodyPr wrap="square" lIns="0">
                  <a:spAutoFit/>
                </a:bodyPr>
                <a:lstStyle>
                  <a:defPPr>
                    <a:defRPr lang="fr-FR"/>
                  </a:defPPr>
                  <a:lvl1pPr marL="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7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54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3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09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886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6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4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1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spcBef>
                      <a:spcPts val="1200"/>
                    </a:spcBef>
                  </a:pPr>
                  <a:r>
                    <a:rPr lang="en-US" sz="900" noProof="1"/>
                    <a:t>Installation de Git et de Git extension pour une meilleur structure</a:t>
                  </a:r>
                </a:p>
              </p:txBody>
            </p:sp>
          </p:grpSp>
          <p:grpSp>
            <p:nvGrpSpPr>
              <p:cNvPr id="43" name="Group 81">
                <a:extLst>
                  <a:ext uri="{FF2B5EF4-FFF2-40B4-BE49-F238E27FC236}">
                    <a16:creationId xmlns:a16="http://schemas.microsoft.com/office/drawing/2014/main" id="{B87C09E4-1E37-BC9B-E0D3-EA9616AB9044}"/>
                  </a:ext>
                </a:extLst>
              </p:cNvPr>
              <p:cNvGrpSpPr/>
              <p:nvPr/>
            </p:nvGrpSpPr>
            <p:grpSpPr>
              <a:xfrm>
                <a:off x="2809809" y="3559272"/>
                <a:ext cx="2584245" cy="572600"/>
                <a:chOff x="319755" y="4468665"/>
                <a:chExt cx="2088994" cy="572600"/>
              </a:xfrm>
            </p:grpSpPr>
            <p:sp>
              <p:nvSpPr>
                <p:cNvPr id="44" name="TextBox 82">
                  <a:extLst>
                    <a:ext uri="{FF2B5EF4-FFF2-40B4-BE49-F238E27FC236}">
                      <a16:creationId xmlns:a16="http://schemas.microsoft.com/office/drawing/2014/main" id="{2FCAC267-F556-E2B1-DE3D-A44CC6988FE5}"/>
                    </a:ext>
                  </a:extLst>
                </p:cNvPr>
                <p:cNvSpPr txBox="1"/>
                <p:nvPr/>
              </p:nvSpPr>
              <p:spPr>
                <a:xfrm>
                  <a:off x="319755" y="4468665"/>
                  <a:ext cx="2088993" cy="312969"/>
                </a:xfrm>
                <a:prstGeom prst="rect">
                  <a:avLst/>
                </a:prstGeom>
                <a:noFill/>
              </p:spPr>
              <p:txBody>
                <a:bodyPr wrap="square" lIns="0" rtlCol="0" anchor="b">
                  <a:spAutoFit/>
                </a:bodyPr>
                <a:lstStyle>
                  <a:defPPr>
                    <a:defRPr lang="fr-FR"/>
                  </a:defPPr>
                  <a:lvl1pPr marL="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7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54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3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09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886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6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4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1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100" b="1" noProof="1">
                      <a:solidFill>
                        <a:schemeClr val="accent2"/>
                      </a:solidFill>
                    </a:rPr>
                    <a:t>Python </a:t>
                  </a:r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8C14EC76-65EC-A337-8852-07441CB09E5F}"/>
                    </a:ext>
                  </a:extLst>
                </p:cNvPr>
                <p:cNvSpPr/>
                <p:nvPr/>
              </p:nvSpPr>
              <p:spPr>
                <a:xfrm>
                  <a:off x="319756" y="4765116"/>
                  <a:ext cx="2088993" cy="276149"/>
                </a:xfrm>
                <a:prstGeom prst="rect">
                  <a:avLst/>
                </a:prstGeom>
              </p:spPr>
              <p:txBody>
                <a:bodyPr wrap="square" lIns="0">
                  <a:spAutoFit/>
                </a:bodyPr>
                <a:lstStyle>
                  <a:defPPr>
                    <a:defRPr lang="fr-FR"/>
                  </a:defPPr>
                  <a:lvl1pPr marL="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7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54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3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09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886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6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4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1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spcBef>
                      <a:spcPts val="1200"/>
                    </a:spcBef>
                  </a:pPr>
                  <a:r>
                    <a:rPr lang="en-US" sz="900" noProof="1"/>
                    <a:t>Installation et execution </a:t>
                  </a:r>
                </a:p>
              </p:txBody>
            </p:sp>
          </p:grpSp>
          <p:grpSp>
            <p:nvGrpSpPr>
              <p:cNvPr id="46" name="Group 84">
                <a:extLst>
                  <a:ext uri="{FF2B5EF4-FFF2-40B4-BE49-F238E27FC236}">
                    <a16:creationId xmlns:a16="http://schemas.microsoft.com/office/drawing/2014/main" id="{8E5A7AEE-D337-DDFB-B58C-EDB0AC2C8FBD}"/>
                  </a:ext>
                </a:extLst>
              </p:cNvPr>
              <p:cNvGrpSpPr/>
              <p:nvPr/>
            </p:nvGrpSpPr>
            <p:grpSpPr>
              <a:xfrm>
                <a:off x="2978948" y="2901161"/>
                <a:ext cx="4461196" cy="572600"/>
                <a:chOff x="319755" y="4468665"/>
                <a:chExt cx="2088994" cy="572600"/>
              </a:xfrm>
            </p:grpSpPr>
            <p:sp>
              <p:nvSpPr>
                <p:cNvPr id="47" name="TextBox 85">
                  <a:extLst>
                    <a:ext uri="{FF2B5EF4-FFF2-40B4-BE49-F238E27FC236}">
                      <a16:creationId xmlns:a16="http://schemas.microsoft.com/office/drawing/2014/main" id="{13814FEC-562C-F5C5-316B-E2276E6B3D5E}"/>
                    </a:ext>
                  </a:extLst>
                </p:cNvPr>
                <p:cNvSpPr txBox="1"/>
                <p:nvPr/>
              </p:nvSpPr>
              <p:spPr>
                <a:xfrm>
                  <a:off x="319755" y="4468665"/>
                  <a:ext cx="2088993" cy="312969"/>
                </a:xfrm>
                <a:prstGeom prst="rect">
                  <a:avLst/>
                </a:prstGeom>
                <a:noFill/>
              </p:spPr>
              <p:txBody>
                <a:bodyPr wrap="square" lIns="0" rtlCol="0" anchor="b">
                  <a:spAutoFit/>
                </a:bodyPr>
                <a:lstStyle>
                  <a:defPPr>
                    <a:defRPr lang="fr-FR"/>
                  </a:defPPr>
                  <a:lvl1pPr marL="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7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54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3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09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886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6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4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1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100" b="1" noProof="1">
                      <a:solidFill>
                        <a:schemeClr val="accent5"/>
                      </a:solidFill>
                    </a:rPr>
                    <a:t>Visual Studio (VS)</a:t>
                  </a: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E2FD3F7E-419E-49A5-D61C-641FA137211A}"/>
                    </a:ext>
                  </a:extLst>
                </p:cNvPr>
                <p:cNvSpPr/>
                <p:nvPr/>
              </p:nvSpPr>
              <p:spPr>
                <a:xfrm>
                  <a:off x="319756" y="4765116"/>
                  <a:ext cx="2088993" cy="276149"/>
                </a:xfrm>
                <a:prstGeom prst="rect">
                  <a:avLst/>
                </a:prstGeom>
              </p:spPr>
              <p:txBody>
                <a:bodyPr wrap="square" lIns="0">
                  <a:spAutoFit/>
                </a:bodyPr>
                <a:lstStyle>
                  <a:defPPr>
                    <a:defRPr lang="fr-FR"/>
                  </a:defPPr>
                  <a:lvl1pPr marL="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7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54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3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09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886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6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4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1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spcBef>
                      <a:spcPts val="1200"/>
                    </a:spcBef>
                  </a:pPr>
                  <a:r>
                    <a:rPr lang="en-US" sz="900" noProof="1"/>
                    <a:t>Installation de la SDK et de l’IDE</a:t>
                  </a:r>
                </a:p>
              </p:txBody>
            </p:sp>
          </p:grpSp>
          <p:grpSp>
            <p:nvGrpSpPr>
              <p:cNvPr id="49" name="Group 4">
                <a:extLst>
                  <a:ext uri="{FF2B5EF4-FFF2-40B4-BE49-F238E27FC236}">
                    <a16:creationId xmlns:a16="http://schemas.microsoft.com/office/drawing/2014/main" id="{8B45E0C8-8107-E20D-4493-50EFE4984520}"/>
                  </a:ext>
                </a:extLst>
              </p:cNvPr>
              <p:cNvGrpSpPr/>
              <p:nvPr/>
            </p:nvGrpSpPr>
            <p:grpSpPr>
              <a:xfrm>
                <a:off x="106551" y="1805656"/>
                <a:ext cx="3020697" cy="3145340"/>
                <a:chOff x="768287" y="1753083"/>
                <a:chExt cx="5831768" cy="4551492"/>
              </a:xfrm>
            </p:grpSpPr>
            <p:sp>
              <p:nvSpPr>
                <p:cNvPr id="50" name="Shape">
                  <a:extLst>
                    <a:ext uri="{FF2B5EF4-FFF2-40B4-BE49-F238E27FC236}">
                      <a16:creationId xmlns:a16="http://schemas.microsoft.com/office/drawing/2014/main" id="{C813B996-35C3-193C-AD97-A79478DFA5B8}"/>
                    </a:ext>
                  </a:extLst>
                </p:cNvPr>
                <p:cNvSpPr/>
                <p:nvPr/>
              </p:nvSpPr>
              <p:spPr>
                <a:xfrm>
                  <a:off x="2411745" y="5097035"/>
                  <a:ext cx="2695167" cy="120754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6824" y="0"/>
                      </a:moveTo>
                      <a:lnTo>
                        <a:pt x="0" y="4473"/>
                      </a:lnTo>
                      <a:cubicBezTo>
                        <a:pt x="229" y="6007"/>
                        <a:pt x="435" y="7515"/>
                        <a:pt x="630" y="8947"/>
                      </a:cubicBezTo>
                      <a:cubicBezTo>
                        <a:pt x="825" y="10378"/>
                        <a:pt x="1008" y="11759"/>
                        <a:pt x="1180" y="13062"/>
                      </a:cubicBezTo>
                      <a:cubicBezTo>
                        <a:pt x="1351" y="14366"/>
                        <a:pt x="1500" y="15618"/>
                        <a:pt x="1649" y="16769"/>
                      </a:cubicBezTo>
                      <a:cubicBezTo>
                        <a:pt x="1787" y="17919"/>
                        <a:pt x="1924" y="19018"/>
                        <a:pt x="2039" y="20015"/>
                      </a:cubicBezTo>
                      <a:cubicBezTo>
                        <a:pt x="2073" y="20271"/>
                        <a:pt x="2107" y="20475"/>
                        <a:pt x="2165" y="20680"/>
                      </a:cubicBezTo>
                      <a:cubicBezTo>
                        <a:pt x="2222" y="20859"/>
                        <a:pt x="2279" y="21038"/>
                        <a:pt x="2348" y="21165"/>
                      </a:cubicBezTo>
                      <a:cubicBezTo>
                        <a:pt x="2417" y="21293"/>
                        <a:pt x="2497" y="21396"/>
                        <a:pt x="2577" y="21472"/>
                      </a:cubicBezTo>
                      <a:cubicBezTo>
                        <a:pt x="2657" y="21549"/>
                        <a:pt x="2737" y="21574"/>
                        <a:pt x="2829" y="21600"/>
                      </a:cubicBezTo>
                      <a:cubicBezTo>
                        <a:pt x="2909" y="21600"/>
                        <a:pt x="2978" y="21574"/>
                        <a:pt x="3058" y="21549"/>
                      </a:cubicBezTo>
                      <a:cubicBezTo>
                        <a:pt x="3046" y="21549"/>
                        <a:pt x="3035" y="21574"/>
                        <a:pt x="3024" y="21574"/>
                      </a:cubicBezTo>
                      <a:lnTo>
                        <a:pt x="19367" y="13727"/>
                      </a:lnTo>
                      <a:cubicBezTo>
                        <a:pt x="19424" y="13701"/>
                        <a:pt x="19481" y="13650"/>
                        <a:pt x="19527" y="13599"/>
                      </a:cubicBezTo>
                      <a:cubicBezTo>
                        <a:pt x="19573" y="13548"/>
                        <a:pt x="19630" y="13471"/>
                        <a:pt x="19664" y="13369"/>
                      </a:cubicBezTo>
                      <a:cubicBezTo>
                        <a:pt x="19699" y="13267"/>
                        <a:pt x="19745" y="13164"/>
                        <a:pt x="19779" y="13037"/>
                      </a:cubicBezTo>
                      <a:cubicBezTo>
                        <a:pt x="19813" y="12909"/>
                        <a:pt x="19836" y="12781"/>
                        <a:pt x="19859" y="12602"/>
                      </a:cubicBezTo>
                      <a:cubicBezTo>
                        <a:pt x="19962" y="11810"/>
                        <a:pt x="20065" y="10966"/>
                        <a:pt x="20191" y="10046"/>
                      </a:cubicBezTo>
                      <a:cubicBezTo>
                        <a:pt x="20317" y="9126"/>
                        <a:pt x="20443" y="8154"/>
                        <a:pt x="20592" y="7106"/>
                      </a:cubicBezTo>
                      <a:cubicBezTo>
                        <a:pt x="20741" y="6058"/>
                        <a:pt x="20890" y="4959"/>
                        <a:pt x="21062" y="3834"/>
                      </a:cubicBezTo>
                      <a:cubicBezTo>
                        <a:pt x="21142" y="3272"/>
                        <a:pt x="21234" y="2684"/>
                        <a:pt x="21325" y="2071"/>
                      </a:cubicBezTo>
                      <a:cubicBezTo>
                        <a:pt x="21417" y="1483"/>
                        <a:pt x="21508" y="869"/>
                        <a:pt x="21600" y="256"/>
                      </a:cubicBezTo>
                      <a:lnTo>
                        <a:pt x="21600" y="256"/>
                      </a:lnTo>
                      <a:lnTo>
                        <a:pt x="16824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lIns="38100" tIns="38100" rIns="540000" bIns="38100" anchor="ctr"/>
                <a:lstStyle>
                  <a:defPPr>
                    <a:defRPr lang="fr-FR"/>
                  </a:defPPr>
                  <a:lvl1pPr marL="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7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54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3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09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886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6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4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1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 sz="3000">
                      <a:solidFill>
                        <a:srgbClr val="FFFFFF"/>
                      </a:solidFill>
                    </a:defRPr>
                  </a:pPr>
                  <a:endParaRPr sz="20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1" name="Shape">
                  <a:extLst>
                    <a:ext uri="{FF2B5EF4-FFF2-40B4-BE49-F238E27FC236}">
                      <a16:creationId xmlns:a16="http://schemas.microsoft.com/office/drawing/2014/main" id="{5166D5C0-E0C3-27C3-5CC6-62CF40B69AB6}"/>
                    </a:ext>
                  </a:extLst>
                </p:cNvPr>
                <p:cNvSpPr/>
                <p:nvPr/>
              </p:nvSpPr>
              <p:spPr>
                <a:xfrm>
                  <a:off x="2411742" y="5352831"/>
                  <a:ext cx="1525842" cy="76159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451"/>
                      </a:moveTo>
                      <a:cubicBezTo>
                        <a:pt x="20729" y="2386"/>
                        <a:pt x="19902" y="4256"/>
                        <a:pt x="19161" y="6061"/>
                      </a:cubicBezTo>
                      <a:cubicBezTo>
                        <a:pt x="18377" y="7866"/>
                        <a:pt x="17681" y="9575"/>
                        <a:pt x="17027" y="11187"/>
                      </a:cubicBezTo>
                      <a:cubicBezTo>
                        <a:pt x="16374" y="12831"/>
                        <a:pt x="15765" y="14346"/>
                        <a:pt x="15242" y="15797"/>
                      </a:cubicBezTo>
                      <a:cubicBezTo>
                        <a:pt x="14676" y="17248"/>
                        <a:pt x="14197" y="18570"/>
                        <a:pt x="13761" y="19827"/>
                      </a:cubicBezTo>
                      <a:cubicBezTo>
                        <a:pt x="13631" y="20149"/>
                        <a:pt x="13500" y="20407"/>
                        <a:pt x="13282" y="20633"/>
                      </a:cubicBezTo>
                      <a:cubicBezTo>
                        <a:pt x="13065" y="20859"/>
                        <a:pt x="12847" y="21052"/>
                        <a:pt x="12585" y="21181"/>
                      </a:cubicBezTo>
                      <a:cubicBezTo>
                        <a:pt x="12324" y="21342"/>
                        <a:pt x="12019" y="21439"/>
                        <a:pt x="11714" y="21503"/>
                      </a:cubicBezTo>
                      <a:cubicBezTo>
                        <a:pt x="11410" y="21568"/>
                        <a:pt x="11105" y="21600"/>
                        <a:pt x="10756" y="21600"/>
                      </a:cubicBezTo>
                      <a:cubicBezTo>
                        <a:pt x="10452" y="21600"/>
                        <a:pt x="10103" y="21536"/>
                        <a:pt x="9798" y="21439"/>
                      </a:cubicBezTo>
                      <a:cubicBezTo>
                        <a:pt x="9494" y="21342"/>
                        <a:pt x="9189" y="21213"/>
                        <a:pt x="8927" y="21052"/>
                      </a:cubicBezTo>
                      <a:cubicBezTo>
                        <a:pt x="8666" y="20891"/>
                        <a:pt x="8405" y="20697"/>
                        <a:pt x="8231" y="20439"/>
                      </a:cubicBezTo>
                      <a:cubicBezTo>
                        <a:pt x="8013" y="20214"/>
                        <a:pt x="7882" y="19924"/>
                        <a:pt x="7752" y="19601"/>
                      </a:cubicBezTo>
                      <a:cubicBezTo>
                        <a:pt x="7316" y="18344"/>
                        <a:pt x="6837" y="16990"/>
                        <a:pt x="6271" y="15507"/>
                      </a:cubicBezTo>
                      <a:cubicBezTo>
                        <a:pt x="5748" y="14056"/>
                        <a:pt x="5139" y="12476"/>
                        <a:pt x="4485" y="10832"/>
                      </a:cubicBezTo>
                      <a:cubicBezTo>
                        <a:pt x="3832" y="9188"/>
                        <a:pt x="3135" y="7447"/>
                        <a:pt x="2395" y="5642"/>
                      </a:cubicBezTo>
                      <a:cubicBezTo>
                        <a:pt x="1655" y="3836"/>
                        <a:pt x="871" y="1934"/>
                        <a:pt x="0" y="0"/>
                      </a:cubicBezTo>
                      <a:lnTo>
                        <a:pt x="21600" y="451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lIns="38100" tIns="38100" rIns="38100" bIns="38100" anchor="t"/>
                <a:lstStyle>
                  <a:defPPr>
                    <a:defRPr lang="fr-FR"/>
                  </a:defPPr>
                  <a:lvl1pPr marL="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7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54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3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09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886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6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4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1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 sz="3000">
                      <a:solidFill>
                        <a:srgbClr val="FFFFFF"/>
                      </a:solidFill>
                    </a:defRPr>
                  </a:pPr>
                  <a:r>
                    <a:rPr lang="fr-FR" sz="2000" b="1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rPr>
                    <a:t>Git</a:t>
                  </a:r>
                  <a:endParaRPr sz="2000" b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endParaRPr>
                </a:p>
              </p:txBody>
            </p:sp>
            <p:sp>
              <p:nvSpPr>
                <p:cNvPr id="52" name="Shape">
                  <a:extLst>
                    <a:ext uri="{FF2B5EF4-FFF2-40B4-BE49-F238E27FC236}">
                      <a16:creationId xmlns:a16="http://schemas.microsoft.com/office/drawing/2014/main" id="{A2296A22-1D92-3D0A-1CFE-4378DF8F02F5}"/>
                    </a:ext>
                  </a:extLst>
                </p:cNvPr>
                <p:cNvSpPr/>
                <p:nvPr/>
              </p:nvSpPr>
              <p:spPr>
                <a:xfrm>
                  <a:off x="1968744" y="4168159"/>
                  <a:ext cx="3499720" cy="107320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3389" y="0"/>
                      </a:moveTo>
                      <a:lnTo>
                        <a:pt x="0" y="431"/>
                      </a:lnTo>
                      <a:cubicBezTo>
                        <a:pt x="229" y="2243"/>
                        <a:pt x="459" y="4055"/>
                        <a:pt x="670" y="5839"/>
                      </a:cubicBezTo>
                      <a:cubicBezTo>
                        <a:pt x="891" y="7622"/>
                        <a:pt x="1094" y="9376"/>
                        <a:pt x="1297" y="11131"/>
                      </a:cubicBezTo>
                      <a:cubicBezTo>
                        <a:pt x="1499" y="12885"/>
                        <a:pt x="1685" y="14582"/>
                        <a:pt x="1870" y="16279"/>
                      </a:cubicBezTo>
                      <a:cubicBezTo>
                        <a:pt x="2055" y="17976"/>
                        <a:pt x="2223" y="19615"/>
                        <a:pt x="2390" y="21226"/>
                      </a:cubicBezTo>
                      <a:lnTo>
                        <a:pt x="7321" y="21600"/>
                      </a:lnTo>
                      <a:lnTo>
                        <a:pt x="19518" y="16969"/>
                      </a:lnTo>
                      <a:cubicBezTo>
                        <a:pt x="19660" y="15675"/>
                        <a:pt x="19810" y="14352"/>
                        <a:pt x="19968" y="12972"/>
                      </a:cubicBezTo>
                      <a:cubicBezTo>
                        <a:pt x="20127" y="11620"/>
                        <a:pt x="20295" y="10210"/>
                        <a:pt x="20462" y="8801"/>
                      </a:cubicBezTo>
                      <a:cubicBezTo>
                        <a:pt x="20639" y="7392"/>
                        <a:pt x="20815" y="5954"/>
                        <a:pt x="21009" y="4487"/>
                      </a:cubicBezTo>
                      <a:cubicBezTo>
                        <a:pt x="21203" y="3020"/>
                        <a:pt x="21397" y="1553"/>
                        <a:pt x="21600" y="58"/>
                      </a:cubicBezTo>
                      <a:lnTo>
                        <a:pt x="13389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lIns="38100" tIns="38100" rIns="540000" bIns="38100" anchor="ctr"/>
                <a:lstStyle>
                  <a:defPPr>
                    <a:defRPr lang="fr-FR"/>
                  </a:defPPr>
                  <a:lvl1pPr marL="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7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54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3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09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886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6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4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1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 sz="3000">
                      <a:solidFill>
                        <a:srgbClr val="FFFFFF"/>
                      </a:solidFill>
                    </a:defRPr>
                  </a:pPr>
                  <a:endParaRPr sz="20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3" name="Shape">
                  <a:extLst>
                    <a:ext uri="{FF2B5EF4-FFF2-40B4-BE49-F238E27FC236}">
                      <a16:creationId xmlns:a16="http://schemas.microsoft.com/office/drawing/2014/main" id="{72105CC8-0B0D-7ED7-1AC0-D7522A30369C}"/>
                    </a:ext>
                  </a:extLst>
                </p:cNvPr>
                <p:cNvSpPr/>
                <p:nvPr/>
              </p:nvSpPr>
              <p:spPr>
                <a:xfrm>
                  <a:off x="768351" y="1753084"/>
                  <a:ext cx="5831704" cy="138759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89" h="21600" extrusionOk="0">
                      <a:moveTo>
                        <a:pt x="21577" y="8364"/>
                      </a:moveTo>
                      <a:cubicBezTo>
                        <a:pt x="21561" y="8142"/>
                        <a:pt x="21535" y="7919"/>
                        <a:pt x="21492" y="7764"/>
                      </a:cubicBezTo>
                      <a:cubicBezTo>
                        <a:pt x="21455" y="7586"/>
                        <a:pt x="21408" y="7474"/>
                        <a:pt x="21350" y="7408"/>
                      </a:cubicBezTo>
                      <a:cubicBezTo>
                        <a:pt x="19271" y="4961"/>
                        <a:pt x="17186" y="2514"/>
                        <a:pt x="15107" y="67"/>
                      </a:cubicBezTo>
                      <a:cubicBezTo>
                        <a:pt x="15107" y="67"/>
                        <a:pt x="15107" y="67"/>
                        <a:pt x="15107" y="67"/>
                      </a:cubicBezTo>
                      <a:cubicBezTo>
                        <a:pt x="15070" y="22"/>
                        <a:pt x="15028" y="0"/>
                        <a:pt x="14980" y="0"/>
                      </a:cubicBezTo>
                      <a:lnTo>
                        <a:pt x="7378" y="1424"/>
                      </a:lnTo>
                      <a:lnTo>
                        <a:pt x="353" y="2736"/>
                      </a:lnTo>
                      <a:cubicBezTo>
                        <a:pt x="273" y="2758"/>
                        <a:pt x="210" y="2870"/>
                        <a:pt x="152" y="3070"/>
                      </a:cubicBezTo>
                      <a:cubicBezTo>
                        <a:pt x="99" y="3270"/>
                        <a:pt x="56" y="3537"/>
                        <a:pt x="30" y="3826"/>
                      </a:cubicBezTo>
                      <a:cubicBezTo>
                        <a:pt x="4" y="4115"/>
                        <a:pt x="-7" y="4449"/>
                        <a:pt x="4" y="4760"/>
                      </a:cubicBezTo>
                      <a:cubicBezTo>
                        <a:pt x="14" y="5072"/>
                        <a:pt x="41" y="5383"/>
                        <a:pt x="94" y="5650"/>
                      </a:cubicBezTo>
                      <a:cubicBezTo>
                        <a:pt x="279" y="6607"/>
                        <a:pt x="459" y="7586"/>
                        <a:pt x="638" y="8587"/>
                      </a:cubicBezTo>
                      <a:cubicBezTo>
                        <a:pt x="818" y="9588"/>
                        <a:pt x="993" y="10611"/>
                        <a:pt x="1162" y="11656"/>
                      </a:cubicBezTo>
                      <a:cubicBezTo>
                        <a:pt x="1331" y="12702"/>
                        <a:pt x="1501" y="13770"/>
                        <a:pt x="1665" y="14837"/>
                      </a:cubicBezTo>
                      <a:cubicBezTo>
                        <a:pt x="1829" y="15927"/>
                        <a:pt x="1987" y="17017"/>
                        <a:pt x="2146" y="18130"/>
                      </a:cubicBezTo>
                      <a:lnTo>
                        <a:pt x="10536" y="21600"/>
                      </a:lnTo>
                      <a:lnTo>
                        <a:pt x="19556" y="20910"/>
                      </a:lnTo>
                      <a:cubicBezTo>
                        <a:pt x="19704" y="19954"/>
                        <a:pt x="19853" y="18997"/>
                        <a:pt x="20006" y="18041"/>
                      </a:cubicBezTo>
                      <a:cubicBezTo>
                        <a:pt x="20159" y="17084"/>
                        <a:pt x="20318" y="16150"/>
                        <a:pt x="20477" y="15216"/>
                      </a:cubicBezTo>
                      <a:cubicBezTo>
                        <a:pt x="20641" y="14281"/>
                        <a:pt x="20805" y="13369"/>
                        <a:pt x="20974" y="12457"/>
                      </a:cubicBezTo>
                      <a:cubicBezTo>
                        <a:pt x="21143" y="11545"/>
                        <a:pt x="21318" y="10655"/>
                        <a:pt x="21498" y="9788"/>
                      </a:cubicBezTo>
                      <a:cubicBezTo>
                        <a:pt x="21540" y="9565"/>
                        <a:pt x="21567" y="9343"/>
                        <a:pt x="21582" y="9098"/>
                      </a:cubicBezTo>
                      <a:cubicBezTo>
                        <a:pt x="21593" y="8854"/>
                        <a:pt x="21588" y="8587"/>
                        <a:pt x="21577" y="836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lIns="38100" tIns="38100" rIns="540000" bIns="38100" anchor="ctr"/>
                <a:lstStyle>
                  <a:defPPr>
                    <a:defRPr lang="fr-FR"/>
                  </a:defPPr>
                  <a:lvl1pPr marL="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7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54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3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09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886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6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4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1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 sz="3000">
                      <a:solidFill>
                        <a:srgbClr val="FFFFFF"/>
                      </a:solidFill>
                    </a:defRPr>
                  </a:pPr>
                  <a:endParaRPr sz="20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4" name="Shape">
                  <a:extLst>
                    <a:ext uri="{FF2B5EF4-FFF2-40B4-BE49-F238E27FC236}">
                      <a16:creationId xmlns:a16="http://schemas.microsoft.com/office/drawing/2014/main" id="{E93E3B6E-B998-A1A9-E4B7-BE785A01EEA5}"/>
                    </a:ext>
                  </a:extLst>
                </p:cNvPr>
                <p:cNvSpPr/>
                <p:nvPr/>
              </p:nvSpPr>
              <p:spPr>
                <a:xfrm>
                  <a:off x="1425710" y="3048516"/>
                  <a:ext cx="4561497" cy="107463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3053" y="0"/>
                      </a:moveTo>
                      <a:lnTo>
                        <a:pt x="0" y="1178"/>
                      </a:lnTo>
                      <a:cubicBezTo>
                        <a:pt x="223" y="2815"/>
                        <a:pt x="440" y="4510"/>
                        <a:pt x="650" y="6176"/>
                      </a:cubicBezTo>
                      <a:cubicBezTo>
                        <a:pt x="859" y="7870"/>
                        <a:pt x="1062" y="9565"/>
                        <a:pt x="1259" y="11260"/>
                      </a:cubicBezTo>
                      <a:cubicBezTo>
                        <a:pt x="1455" y="12954"/>
                        <a:pt x="1651" y="14678"/>
                        <a:pt x="1834" y="16372"/>
                      </a:cubicBezTo>
                      <a:cubicBezTo>
                        <a:pt x="2023" y="18096"/>
                        <a:pt x="2199" y="19790"/>
                        <a:pt x="2375" y="21514"/>
                      </a:cubicBezTo>
                      <a:lnTo>
                        <a:pt x="10462" y="21514"/>
                      </a:lnTo>
                      <a:lnTo>
                        <a:pt x="19448" y="21600"/>
                      </a:lnTo>
                      <a:cubicBezTo>
                        <a:pt x="19604" y="20193"/>
                        <a:pt x="19766" y="18756"/>
                        <a:pt x="19929" y="17320"/>
                      </a:cubicBezTo>
                      <a:cubicBezTo>
                        <a:pt x="20098" y="15884"/>
                        <a:pt x="20267" y="14448"/>
                        <a:pt x="20450" y="13012"/>
                      </a:cubicBezTo>
                      <a:cubicBezTo>
                        <a:pt x="20626" y="11576"/>
                        <a:pt x="20815" y="10139"/>
                        <a:pt x="21005" y="8703"/>
                      </a:cubicBezTo>
                      <a:cubicBezTo>
                        <a:pt x="21099" y="7985"/>
                        <a:pt x="21201" y="7267"/>
                        <a:pt x="21295" y="6549"/>
                      </a:cubicBezTo>
                      <a:cubicBezTo>
                        <a:pt x="21390" y="5831"/>
                        <a:pt x="21492" y="5113"/>
                        <a:pt x="21600" y="4423"/>
                      </a:cubicBezTo>
                      <a:lnTo>
                        <a:pt x="13053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lIns="38100" tIns="38100" rIns="540000" bIns="38100" anchor="ctr"/>
                <a:lstStyle>
                  <a:defPPr>
                    <a:defRPr lang="fr-FR"/>
                  </a:defPPr>
                  <a:lvl1pPr marL="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7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54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3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09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886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6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4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1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 sz="3000">
                      <a:solidFill>
                        <a:srgbClr val="FFFFFF"/>
                      </a:solidFill>
                    </a:defRPr>
                  </a:pPr>
                  <a:endParaRPr sz="7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5" name="Freeform: Shape 35">
                  <a:extLst>
                    <a:ext uri="{FF2B5EF4-FFF2-40B4-BE49-F238E27FC236}">
                      <a16:creationId xmlns:a16="http://schemas.microsoft.com/office/drawing/2014/main" id="{4F1BA904-E7BB-6DA9-CA73-ACA31FE9A970}"/>
                    </a:ext>
                  </a:extLst>
                </p:cNvPr>
                <p:cNvSpPr/>
                <p:nvPr/>
              </p:nvSpPr>
              <p:spPr>
                <a:xfrm>
                  <a:off x="768287" y="1753084"/>
                  <a:ext cx="4159236" cy="1267095"/>
                </a:xfrm>
                <a:custGeom>
                  <a:avLst/>
                  <a:gdLst>
                    <a:gd name="connsiteX0" fmla="*/ 4046520 w 4159236"/>
                    <a:gd name="connsiteY0" fmla="*/ 0 h 1267095"/>
                    <a:gd name="connsiteX1" fmla="*/ 4080825 w 4159236"/>
                    <a:gd name="connsiteY1" fmla="*/ 4304 h 1267095"/>
                    <a:gd name="connsiteX2" fmla="*/ 4118180 w 4159236"/>
                    <a:gd name="connsiteY2" fmla="*/ 14750 h 1267095"/>
                    <a:gd name="connsiteX3" fmla="*/ 4134059 w 4159236"/>
                    <a:gd name="connsiteY3" fmla="*/ 29263 h 1267095"/>
                    <a:gd name="connsiteX4" fmla="*/ 4149669 w 4159236"/>
                    <a:gd name="connsiteY4" fmla="*/ 56823 h 1267095"/>
                    <a:gd name="connsiteX5" fmla="*/ 4158149 w 4159236"/>
                    <a:gd name="connsiteY5" fmla="*/ 121194 h 1267095"/>
                    <a:gd name="connsiteX6" fmla="*/ 4129627 w 4159236"/>
                    <a:gd name="connsiteY6" fmla="*/ 185620 h 1267095"/>
                    <a:gd name="connsiteX7" fmla="*/ 3958107 w 4159236"/>
                    <a:gd name="connsiteY7" fmla="*/ 401736 h 1267095"/>
                    <a:gd name="connsiteX8" fmla="*/ 3795261 w 4159236"/>
                    <a:gd name="connsiteY8" fmla="*/ 624963 h 1267095"/>
                    <a:gd name="connsiteX9" fmla="*/ 3640894 w 4159236"/>
                    <a:gd name="connsiteY9" fmla="*/ 852553 h 1267095"/>
                    <a:gd name="connsiteX10" fmla="*/ 3493657 w 4159236"/>
                    <a:gd name="connsiteY10" fmla="*/ 1084400 h 1267095"/>
                    <a:gd name="connsiteX11" fmla="*/ 3414041 w 4159236"/>
                    <a:gd name="connsiteY11" fmla="*/ 1221594 h 1267095"/>
                    <a:gd name="connsiteX12" fmla="*/ 3409815 w 4159236"/>
                    <a:gd name="connsiteY12" fmla="*/ 1229061 h 1267095"/>
                    <a:gd name="connsiteX13" fmla="*/ 1620963 w 4159236"/>
                    <a:gd name="connsiteY13" fmla="*/ 1267095 h 1267095"/>
                    <a:gd name="connsiteX14" fmla="*/ 579750 w 4159236"/>
                    <a:gd name="connsiteY14" fmla="*/ 1164682 h 1267095"/>
                    <a:gd name="connsiteX15" fmla="*/ 449820 w 4159236"/>
                    <a:gd name="connsiteY15" fmla="*/ 953138 h 1267095"/>
                    <a:gd name="connsiteX16" fmla="*/ 313948 w 4159236"/>
                    <a:gd name="connsiteY16" fmla="*/ 748789 h 1267095"/>
                    <a:gd name="connsiteX17" fmla="*/ 172403 w 4159236"/>
                    <a:gd name="connsiteY17" fmla="*/ 551634 h 1267095"/>
                    <a:gd name="connsiteX18" fmla="*/ 25456 w 4159236"/>
                    <a:gd name="connsiteY18" fmla="*/ 362960 h 1267095"/>
                    <a:gd name="connsiteX19" fmla="*/ 1145 w 4159236"/>
                    <a:gd name="connsiteY19" fmla="*/ 305785 h 1267095"/>
                    <a:gd name="connsiteX20" fmla="*/ 8168 w 4159236"/>
                    <a:gd name="connsiteY20" fmla="*/ 245785 h 1267095"/>
                    <a:gd name="connsiteX21" fmla="*/ 41123 w 4159236"/>
                    <a:gd name="connsiteY21" fmla="*/ 197219 h 1267095"/>
                    <a:gd name="connsiteX22" fmla="*/ 95418 w 4159236"/>
                    <a:gd name="connsiteY22" fmla="*/ 175762 h 1267095"/>
                    <a:gd name="connsiteX23" fmla="*/ 1993038 w 4159236"/>
                    <a:gd name="connsiteY23" fmla="*/ 91479 h 1267095"/>
                    <a:gd name="connsiteX24" fmla="*/ 4046520 w 4159236"/>
                    <a:gd name="connsiteY24" fmla="*/ 0 h 1267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4159236" h="1267095">
                      <a:moveTo>
                        <a:pt x="4046520" y="0"/>
                      </a:moveTo>
                      <a:cubicBezTo>
                        <a:pt x="4059485" y="0"/>
                        <a:pt x="4070831" y="1413"/>
                        <a:pt x="4080825" y="4304"/>
                      </a:cubicBezTo>
                      <a:lnTo>
                        <a:pt x="4118180" y="14750"/>
                      </a:lnTo>
                      <a:lnTo>
                        <a:pt x="4134059" y="29263"/>
                      </a:lnTo>
                      <a:cubicBezTo>
                        <a:pt x="4140708" y="37498"/>
                        <a:pt x="4146104" y="46804"/>
                        <a:pt x="4149669" y="56823"/>
                      </a:cubicBezTo>
                      <a:cubicBezTo>
                        <a:pt x="4158149" y="76862"/>
                        <a:pt x="4161040" y="99756"/>
                        <a:pt x="4158149" y="121194"/>
                      </a:cubicBezTo>
                      <a:cubicBezTo>
                        <a:pt x="4155258" y="144088"/>
                        <a:pt x="4146778" y="165581"/>
                        <a:pt x="4129627" y="185620"/>
                      </a:cubicBezTo>
                      <a:cubicBezTo>
                        <a:pt x="4071040" y="257156"/>
                        <a:pt x="4013803" y="328746"/>
                        <a:pt x="3958107" y="401736"/>
                      </a:cubicBezTo>
                      <a:cubicBezTo>
                        <a:pt x="3902412" y="474727"/>
                        <a:pt x="3848065" y="549118"/>
                        <a:pt x="3795261" y="624963"/>
                      </a:cubicBezTo>
                      <a:cubicBezTo>
                        <a:pt x="3742263" y="700809"/>
                        <a:pt x="3690808" y="776708"/>
                        <a:pt x="3640894" y="852553"/>
                      </a:cubicBezTo>
                      <a:cubicBezTo>
                        <a:pt x="3590787" y="929800"/>
                        <a:pt x="3542222" y="1007099"/>
                        <a:pt x="3493657" y="1084400"/>
                      </a:cubicBezTo>
                      <a:lnTo>
                        <a:pt x="3414041" y="1221594"/>
                      </a:lnTo>
                      <a:lnTo>
                        <a:pt x="3409815" y="1229061"/>
                      </a:lnTo>
                      <a:lnTo>
                        <a:pt x="1620963" y="1267095"/>
                      </a:lnTo>
                      <a:lnTo>
                        <a:pt x="579750" y="1164682"/>
                      </a:lnTo>
                      <a:cubicBezTo>
                        <a:pt x="536800" y="1093183"/>
                        <a:pt x="494121" y="1023160"/>
                        <a:pt x="449820" y="953138"/>
                      </a:cubicBezTo>
                      <a:cubicBezTo>
                        <a:pt x="405520" y="884593"/>
                        <a:pt x="359599" y="815984"/>
                        <a:pt x="313948" y="748789"/>
                      </a:cubicBezTo>
                      <a:cubicBezTo>
                        <a:pt x="268297" y="681657"/>
                        <a:pt x="221025" y="615939"/>
                        <a:pt x="172403" y="551634"/>
                      </a:cubicBezTo>
                      <a:cubicBezTo>
                        <a:pt x="124051" y="487329"/>
                        <a:pt x="75429" y="424438"/>
                        <a:pt x="25456" y="362960"/>
                      </a:cubicBezTo>
                      <a:cubicBezTo>
                        <a:pt x="11139" y="345807"/>
                        <a:pt x="3846" y="325828"/>
                        <a:pt x="1145" y="305785"/>
                      </a:cubicBezTo>
                      <a:cubicBezTo>
                        <a:pt x="-1827" y="285807"/>
                        <a:pt x="1145" y="264350"/>
                        <a:pt x="8168" y="245785"/>
                      </a:cubicBezTo>
                      <a:cubicBezTo>
                        <a:pt x="15191" y="227219"/>
                        <a:pt x="26806" y="210067"/>
                        <a:pt x="41123" y="197219"/>
                      </a:cubicBezTo>
                      <a:cubicBezTo>
                        <a:pt x="56790" y="184371"/>
                        <a:pt x="73808" y="177176"/>
                        <a:pt x="95418" y="175762"/>
                      </a:cubicBezTo>
                      <a:lnTo>
                        <a:pt x="1993038" y="91479"/>
                      </a:lnTo>
                      <a:lnTo>
                        <a:pt x="404652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wrap="square" lIns="38100" tIns="38100" rIns="540000" bIns="38100" anchor="ctr">
                  <a:noAutofit/>
                </a:bodyPr>
                <a:lstStyle>
                  <a:defPPr>
                    <a:defRPr lang="fr-FR"/>
                  </a:defPPr>
                  <a:lvl1pPr marL="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7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54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3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09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886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6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4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1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 sz="3000">
                      <a:solidFill>
                        <a:srgbClr val="FFFFFF"/>
                      </a:solidFill>
                    </a:defRPr>
                  </a:pPr>
                  <a:endParaRPr sz="20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6" name="Freeform: Shape 29">
                  <a:extLst>
                    <a:ext uri="{FF2B5EF4-FFF2-40B4-BE49-F238E27FC236}">
                      <a16:creationId xmlns:a16="http://schemas.microsoft.com/office/drawing/2014/main" id="{90456E43-6D24-4C8F-89AC-E97019D37F17}"/>
                    </a:ext>
                  </a:extLst>
                </p:cNvPr>
                <p:cNvSpPr/>
                <p:nvPr/>
              </p:nvSpPr>
              <p:spPr>
                <a:xfrm>
                  <a:off x="1425709" y="3020179"/>
                  <a:ext cx="2667589" cy="1032239"/>
                </a:xfrm>
                <a:custGeom>
                  <a:avLst/>
                  <a:gdLst>
                    <a:gd name="connsiteX0" fmla="*/ 963542 w 2667589"/>
                    <a:gd name="connsiteY0" fmla="*/ 0 h 1032239"/>
                    <a:gd name="connsiteX1" fmla="*/ 2188668 w 2667589"/>
                    <a:gd name="connsiteY1" fmla="*/ 120502 h 1032239"/>
                    <a:gd name="connsiteX2" fmla="*/ 2667589 w 2667589"/>
                    <a:gd name="connsiteY2" fmla="*/ 111789 h 1032239"/>
                    <a:gd name="connsiteX3" fmla="*/ 2605134 w 2667589"/>
                    <a:gd name="connsiteY3" fmla="*/ 222129 h 1032239"/>
                    <a:gd name="connsiteX4" fmla="*/ 2463729 w 2667589"/>
                    <a:gd name="connsiteY4" fmla="*/ 491196 h 1032239"/>
                    <a:gd name="connsiteX5" fmla="*/ 2332152 w 2667589"/>
                    <a:gd name="connsiteY5" fmla="*/ 758827 h 1032239"/>
                    <a:gd name="connsiteX6" fmla="*/ 2209253 w 2667589"/>
                    <a:gd name="connsiteY6" fmla="*/ 1025019 h 1032239"/>
                    <a:gd name="connsiteX7" fmla="*/ 2205391 w 2667589"/>
                    <a:gd name="connsiteY7" fmla="*/ 1032239 h 1032239"/>
                    <a:gd name="connsiteX8" fmla="*/ 501554 w 2667589"/>
                    <a:gd name="connsiteY8" fmla="*/ 1032239 h 1032239"/>
                    <a:gd name="connsiteX9" fmla="*/ 387305 w 2667589"/>
                    <a:gd name="connsiteY9" fmla="*/ 776415 h 1032239"/>
                    <a:gd name="connsiteX10" fmla="*/ 265876 w 2667589"/>
                    <a:gd name="connsiteY10" fmla="*/ 522083 h 1032239"/>
                    <a:gd name="connsiteX11" fmla="*/ 137267 w 2667589"/>
                    <a:gd name="connsiteY11" fmla="*/ 269145 h 1032239"/>
                    <a:gd name="connsiteX12" fmla="*/ 0 w 2667589"/>
                    <a:gd name="connsiteY12" fmla="*/ 20486 h 1032239"/>
                    <a:gd name="connsiteX13" fmla="*/ 963542 w 2667589"/>
                    <a:gd name="connsiteY13" fmla="*/ 0 h 1032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667589" h="1032239">
                      <a:moveTo>
                        <a:pt x="963542" y="0"/>
                      </a:moveTo>
                      <a:lnTo>
                        <a:pt x="2188668" y="120502"/>
                      </a:lnTo>
                      <a:lnTo>
                        <a:pt x="2667589" y="111789"/>
                      </a:lnTo>
                      <a:lnTo>
                        <a:pt x="2605134" y="222129"/>
                      </a:lnTo>
                      <a:cubicBezTo>
                        <a:pt x="2556510" y="312281"/>
                        <a:pt x="2509418" y="401044"/>
                        <a:pt x="2463729" y="491196"/>
                      </a:cubicBezTo>
                      <a:cubicBezTo>
                        <a:pt x="2417913" y="581348"/>
                        <a:pt x="2373629" y="670112"/>
                        <a:pt x="2332152" y="758827"/>
                      </a:cubicBezTo>
                      <a:cubicBezTo>
                        <a:pt x="2289271" y="847541"/>
                        <a:pt x="2249326" y="936305"/>
                        <a:pt x="2209253" y="1025019"/>
                      </a:cubicBezTo>
                      <a:lnTo>
                        <a:pt x="2205391" y="1032239"/>
                      </a:lnTo>
                      <a:lnTo>
                        <a:pt x="501554" y="1032239"/>
                      </a:lnTo>
                      <a:cubicBezTo>
                        <a:pt x="464386" y="946466"/>
                        <a:pt x="427218" y="862187"/>
                        <a:pt x="387305" y="776415"/>
                      </a:cubicBezTo>
                      <a:cubicBezTo>
                        <a:pt x="348659" y="692135"/>
                        <a:pt x="307268" y="606363"/>
                        <a:pt x="265876" y="522083"/>
                      </a:cubicBezTo>
                      <a:cubicBezTo>
                        <a:pt x="224274" y="437754"/>
                        <a:pt x="181404" y="353425"/>
                        <a:pt x="137267" y="269145"/>
                      </a:cubicBezTo>
                      <a:cubicBezTo>
                        <a:pt x="92919" y="186259"/>
                        <a:pt x="47093" y="101929"/>
                        <a:pt x="0" y="20486"/>
                      </a:cubicBezTo>
                      <a:lnTo>
                        <a:pt x="963542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wrap="square" lIns="38100" tIns="38100" rIns="540000" bIns="38100" anchor="ctr">
                  <a:noAutofit/>
                </a:bodyPr>
                <a:lstStyle>
                  <a:defPPr>
                    <a:defRPr lang="fr-FR"/>
                  </a:defPPr>
                  <a:lvl1pPr marL="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7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54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3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09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886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6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4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1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defRPr sz="3000">
                      <a:solidFill>
                        <a:srgbClr val="FFFFFF"/>
                      </a:solidFill>
                    </a:defRPr>
                  </a:pPr>
                  <a:endParaRPr sz="200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7" name="Freeform: Shape 50">
                  <a:extLst>
                    <a:ext uri="{FF2B5EF4-FFF2-40B4-BE49-F238E27FC236}">
                      <a16:creationId xmlns:a16="http://schemas.microsoft.com/office/drawing/2014/main" id="{0F771AA7-C200-69C2-7A8E-8EC2DFD1E3DA}"/>
                    </a:ext>
                  </a:extLst>
                </p:cNvPr>
                <p:cNvSpPr/>
                <p:nvPr/>
              </p:nvSpPr>
              <p:spPr>
                <a:xfrm>
                  <a:off x="1968741" y="4223979"/>
                  <a:ext cx="2484924" cy="884071"/>
                </a:xfrm>
                <a:custGeom>
                  <a:avLst/>
                  <a:gdLst>
                    <a:gd name="connsiteX0" fmla="*/ 1597426 w 1597426"/>
                    <a:gd name="connsiteY0" fmla="*/ 0 h 1067498"/>
                    <a:gd name="connsiteX1" fmla="*/ 1591954 w 1597426"/>
                    <a:gd name="connsiteY1" fmla="*/ 10229 h 1067498"/>
                    <a:gd name="connsiteX2" fmla="*/ 1589610 w 1597426"/>
                    <a:gd name="connsiteY2" fmla="*/ 15792 h 1067498"/>
                    <a:gd name="connsiteX3" fmla="*/ 1591953 w 1597426"/>
                    <a:gd name="connsiteY3" fmla="*/ 15802 h 1067498"/>
                    <a:gd name="connsiteX4" fmla="*/ 1476168 w 1597426"/>
                    <a:gd name="connsiteY4" fmla="*/ 290189 h 1067498"/>
                    <a:gd name="connsiteX5" fmla="*/ 1370480 w 1597426"/>
                    <a:gd name="connsiteY5" fmla="*/ 557417 h 1067498"/>
                    <a:gd name="connsiteX6" fmla="*/ 1273268 w 1597426"/>
                    <a:gd name="connsiteY6" fmla="*/ 814615 h 1067498"/>
                    <a:gd name="connsiteX7" fmla="*/ 1186079 w 1597426"/>
                    <a:gd name="connsiteY7" fmla="*/ 1060418 h 1067498"/>
                    <a:gd name="connsiteX8" fmla="*/ 1185106 w 1597426"/>
                    <a:gd name="connsiteY8" fmla="*/ 1060396 h 1067498"/>
                    <a:gd name="connsiteX9" fmla="*/ 1183370 w 1597426"/>
                    <a:gd name="connsiteY9" fmla="*/ 1067498 h 1067498"/>
                    <a:gd name="connsiteX10" fmla="*/ 387239 w 1597426"/>
                    <a:gd name="connsiteY10" fmla="*/ 1048981 h 1067498"/>
                    <a:gd name="connsiteX11" fmla="*/ 302986 w 1597426"/>
                    <a:gd name="connsiteY11" fmla="*/ 803186 h 1067498"/>
                    <a:gd name="connsiteX12" fmla="*/ 210146 w 1597426"/>
                    <a:gd name="connsiteY12" fmla="*/ 547405 h 1067498"/>
                    <a:gd name="connsiteX13" fmla="*/ 108557 w 1597426"/>
                    <a:gd name="connsiteY13" fmla="*/ 284468 h 1067498"/>
                    <a:gd name="connsiteX14" fmla="*/ 1 w 1597426"/>
                    <a:gd name="connsiteY14" fmla="*/ 15769 h 1067498"/>
                    <a:gd name="connsiteX15" fmla="*/ 2870 w 1597426"/>
                    <a:gd name="connsiteY15" fmla="*/ 15741 h 1067498"/>
                    <a:gd name="connsiteX16" fmla="*/ 0 w 1597426"/>
                    <a:gd name="connsiteY16" fmla="*/ 8644 h 1067498"/>
                    <a:gd name="connsiteX17" fmla="*/ 495899 w 1597426"/>
                    <a:gd name="connsiteY17" fmla="*/ 10874 h 1067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597426" h="1067498">
                      <a:moveTo>
                        <a:pt x="1597426" y="0"/>
                      </a:moveTo>
                      <a:lnTo>
                        <a:pt x="1591954" y="10229"/>
                      </a:lnTo>
                      <a:lnTo>
                        <a:pt x="1589610" y="15792"/>
                      </a:lnTo>
                      <a:lnTo>
                        <a:pt x="1591953" y="15802"/>
                      </a:lnTo>
                      <a:cubicBezTo>
                        <a:pt x="1551933" y="108660"/>
                        <a:pt x="1513387" y="200155"/>
                        <a:pt x="1476168" y="290189"/>
                      </a:cubicBezTo>
                      <a:cubicBezTo>
                        <a:pt x="1439023" y="380174"/>
                        <a:pt x="1403351" y="470207"/>
                        <a:pt x="1370480" y="557417"/>
                      </a:cubicBezTo>
                      <a:cubicBezTo>
                        <a:pt x="1336135" y="644578"/>
                        <a:pt x="1304738" y="731739"/>
                        <a:pt x="1273268" y="814615"/>
                      </a:cubicBezTo>
                      <a:cubicBezTo>
                        <a:pt x="1243271" y="898951"/>
                        <a:pt x="1213275" y="980415"/>
                        <a:pt x="1186079" y="1060418"/>
                      </a:cubicBezTo>
                      <a:lnTo>
                        <a:pt x="1185106" y="1060396"/>
                      </a:lnTo>
                      <a:lnTo>
                        <a:pt x="1183370" y="1067498"/>
                      </a:lnTo>
                      <a:lnTo>
                        <a:pt x="387239" y="1048981"/>
                      </a:lnTo>
                      <a:cubicBezTo>
                        <a:pt x="360181" y="968937"/>
                        <a:pt x="332961" y="887503"/>
                        <a:pt x="302986" y="803186"/>
                      </a:cubicBezTo>
                      <a:cubicBezTo>
                        <a:pt x="273012" y="718870"/>
                        <a:pt x="242875" y="634553"/>
                        <a:pt x="210146" y="547405"/>
                      </a:cubicBezTo>
                      <a:cubicBezTo>
                        <a:pt x="177255" y="460206"/>
                        <a:pt x="144365" y="373058"/>
                        <a:pt x="108557" y="284468"/>
                      </a:cubicBezTo>
                      <a:cubicBezTo>
                        <a:pt x="74370" y="195829"/>
                        <a:pt x="37105" y="105799"/>
                        <a:pt x="1" y="15769"/>
                      </a:cubicBezTo>
                      <a:lnTo>
                        <a:pt x="2870" y="15741"/>
                      </a:lnTo>
                      <a:lnTo>
                        <a:pt x="0" y="8644"/>
                      </a:lnTo>
                      <a:lnTo>
                        <a:pt x="495899" y="10874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lIns="38100" tIns="38100" rIns="38100" bIns="38100" anchor="ctr"/>
                <a:lstStyle>
                  <a:defPPr>
                    <a:defRPr lang="fr-FR"/>
                  </a:defPPr>
                  <a:lvl1pPr marL="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7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54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3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09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886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6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4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1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sz="1400" b="1" err="1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rPr>
                    <a:t>Pyton</a:t>
                  </a:r>
                  <a:endParaRPr sz="1400" b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endParaRPr>
                </a:p>
              </p:txBody>
            </p:sp>
            <p:sp>
              <p:nvSpPr>
                <p:cNvPr id="58" name="Shape">
                  <a:extLst>
                    <a:ext uri="{FF2B5EF4-FFF2-40B4-BE49-F238E27FC236}">
                      <a16:creationId xmlns:a16="http://schemas.microsoft.com/office/drawing/2014/main" id="{7C8BAF40-70BF-2908-2634-C83D50D022D0}"/>
                    </a:ext>
                  </a:extLst>
                </p:cNvPr>
                <p:cNvSpPr/>
                <p:nvPr/>
              </p:nvSpPr>
              <p:spPr>
                <a:xfrm>
                  <a:off x="768351" y="1753083"/>
                  <a:ext cx="4159241" cy="116056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82" h="21577" extrusionOk="0">
                      <a:moveTo>
                        <a:pt x="21005" y="4"/>
                      </a:moveTo>
                      <a:cubicBezTo>
                        <a:pt x="21131" y="-23"/>
                        <a:pt x="21242" y="110"/>
                        <a:pt x="21331" y="322"/>
                      </a:cubicBezTo>
                      <a:cubicBezTo>
                        <a:pt x="21420" y="535"/>
                        <a:pt x="21495" y="854"/>
                        <a:pt x="21532" y="1226"/>
                      </a:cubicBezTo>
                      <a:cubicBezTo>
                        <a:pt x="21576" y="1598"/>
                        <a:pt x="21591" y="2023"/>
                        <a:pt x="21576" y="2421"/>
                      </a:cubicBezTo>
                      <a:cubicBezTo>
                        <a:pt x="21561" y="2846"/>
                        <a:pt x="21517" y="3245"/>
                        <a:pt x="21428" y="3617"/>
                      </a:cubicBezTo>
                      <a:cubicBezTo>
                        <a:pt x="21124" y="4945"/>
                        <a:pt x="20827" y="6274"/>
                        <a:pt x="20538" y="7629"/>
                      </a:cubicBezTo>
                      <a:cubicBezTo>
                        <a:pt x="20249" y="8984"/>
                        <a:pt x="19967" y="10365"/>
                        <a:pt x="19693" y="11773"/>
                      </a:cubicBezTo>
                      <a:cubicBezTo>
                        <a:pt x="19418" y="13181"/>
                        <a:pt x="19151" y="14590"/>
                        <a:pt x="18892" y="15998"/>
                      </a:cubicBezTo>
                      <a:cubicBezTo>
                        <a:pt x="18632" y="17432"/>
                        <a:pt x="18380" y="18867"/>
                        <a:pt x="18128" y="20302"/>
                      </a:cubicBezTo>
                      <a:lnTo>
                        <a:pt x="3009" y="21577"/>
                      </a:lnTo>
                      <a:cubicBezTo>
                        <a:pt x="2786" y="20249"/>
                        <a:pt x="2564" y="18947"/>
                        <a:pt x="2334" y="17645"/>
                      </a:cubicBezTo>
                      <a:cubicBezTo>
                        <a:pt x="2104" y="16343"/>
                        <a:pt x="1867" y="15094"/>
                        <a:pt x="1630" y="13846"/>
                      </a:cubicBezTo>
                      <a:cubicBezTo>
                        <a:pt x="1392" y="12597"/>
                        <a:pt x="1148" y="11375"/>
                        <a:pt x="896" y="10179"/>
                      </a:cubicBezTo>
                      <a:cubicBezTo>
                        <a:pt x="644" y="8984"/>
                        <a:pt x="391" y="7815"/>
                        <a:pt x="132" y="6672"/>
                      </a:cubicBezTo>
                      <a:cubicBezTo>
                        <a:pt x="58" y="6353"/>
                        <a:pt x="21" y="5981"/>
                        <a:pt x="6" y="5609"/>
                      </a:cubicBezTo>
                      <a:cubicBezTo>
                        <a:pt x="-9" y="5238"/>
                        <a:pt x="6" y="4839"/>
                        <a:pt x="43" y="4494"/>
                      </a:cubicBezTo>
                      <a:cubicBezTo>
                        <a:pt x="80" y="4148"/>
                        <a:pt x="139" y="3829"/>
                        <a:pt x="213" y="3590"/>
                      </a:cubicBezTo>
                      <a:cubicBezTo>
                        <a:pt x="288" y="3351"/>
                        <a:pt x="384" y="3218"/>
                        <a:pt x="495" y="3192"/>
                      </a:cubicBezTo>
                      <a:lnTo>
                        <a:pt x="10342" y="1624"/>
                      </a:lnTo>
                      <a:lnTo>
                        <a:pt x="21005" y="4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lIns="38100" tIns="38100" rIns="38100" bIns="38100" anchor="ctr"/>
                <a:lstStyle>
                  <a:defPPr>
                    <a:defRPr lang="fr-FR"/>
                  </a:defPPr>
                  <a:lvl1pPr marL="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7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54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3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09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886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6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4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1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 sz="3000">
                      <a:solidFill>
                        <a:srgbClr val="FFFFFF"/>
                      </a:solidFill>
                    </a:defRPr>
                  </a:pPr>
                  <a:r>
                    <a:rPr lang="fr-CA" sz="2000" b="1" dirty="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rPr>
                    <a:t>VSC</a:t>
                  </a:r>
                  <a:endParaRPr sz="20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endParaRPr>
                </a:p>
              </p:txBody>
            </p:sp>
            <p:sp>
              <p:nvSpPr>
                <p:cNvPr id="59" name="Shape">
                  <a:extLst>
                    <a:ext uri="{FF2B5EF4-FFF2-40B4-BE49-F238E27FC236}">
                      <a16:creationId xmlns:a16="http://schemas.microsoft.com/office/drawing/2014/main" id="{86F4A824-C322-4F79-B133-286D5EA9DE0E}"/>
                    </a:ext>
                  </a:extLst>
                </p:cNvPr>
                <p:cNvSpPr/>
                <p:nvPr/>
              </p:nvSpPr>
              <p:spPr>
                <a:xfrm>
                  <a:off x="1417364" y="3048452"/>
                  <a:ext cx="2756620" cy="106892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0"/>
                      </a:moveTo>
                      <a:cubicBezTo>
                        <a:pt x="21197" y="1790"/>
                        <a:pt x="20794" y="3610"/>
                        <a:pt x="20413" y="5400"/>
                      </a:cubicBezTo>
                      <a:cubicBezTo>
                        <a:pt x="20032" y="7219"/>
                        <a:pt x="19663" y="9010"/>
                        <a:pt x="19305" y="10829"/>
                      </a:cubicBezTo>
                      <a:cubicBezTo>
                        <a:pt x="18946" y="12648"/>
                        <a:pt x="18599" y="14439"/>
                        <a:pt x="18274" y="16229"/>
                      </a:cubicBezTo>
                      <a:cubicBezTo>
                        <a:pt x="17938" y="18019"/>
                        <a:pt x="17625" y="19810"/>
                        <a:pt x="17311" y="21600"/>
                      </a:cubicBezTo>
                      <a:lnTo>
                        <a:pt x="3930" y="21600"/>
                      </a:lnTo>
                      <a:cubicBezTo>
                        <a:pt x="3639" y="19896"/>
                        <a:pt x="3348" y="18164"/>
                        <a:pt x="3035" y="16431"/>
                      </a:cubicBezTo>
                      <a:cubicBezTo>
                        <a:pt x="2732" y="14698"/>
                        <a:pt x="2407" y="12995"/>
                        <a:pt x="2083" y="11291"/>
                      </a:cubicBezTo>
                      <a:cubicBezTo>
                        <a:pt x="1758" y="9587"/>
                        <a:pt x="1422" y="7883"/>
                        <a:pt x="1075" y="6180"/>
                      </a:cubicBezTo>
                      <a:cubicBezTo>
                        <a:pt x="728" y="4505"/>
                        <a:pt x="370" y="2801"/>
                        <a:pt x="0" y="1155"/>
                      </a:cubicBezTo>
                      <a:lnTo>
                        <a:pt x="2160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2">
                        <a:lumMod val="67000"/>
                      </a:schemeClr>
                    </a:gs>
                    <a:gs pos="48000">
                      <a:schemeClr val="accent2">
                        <a:lumMod val="97000"/>
                        <a:lumOff val="3000"/>
                      </a:schemeClr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lIns="38100" tIns="38100" rIns="38100" bIns="38100" anchor="ctr"/>
                <a:lstStyle>
                  <a:defPPr>
                    <a:defRPr lang="fr-FR"/>
                  </a:defPPr>
                  <a:lvl1pPr marL="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7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54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3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09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886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6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4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1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 sz="3000">
                      <a:solidFill>
                        <a:srgbClr val="FFFFFF"/>
                      </a:solidFill>
                    </a:defRPr>
                  </a:pPr>
                  <a:r>
                    <a:rPr lang="fr-CA" sz="2000" b="1" dirty="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rPr>
                    <a:t>VS</a:t>
                  </a:r>
                  <a:endParaRPr sz="20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endParaRPr>
                </a:p>
              </p:txBody>
            </p:sp>
          </p:grpSp>
          <p:grpSp>
            <p:nvGrpSpPr>
              <p:cNvPr id="60" name="Group 41">
                <a:extLst>
                  <a:ext uri="{FF2B5EF4-FFF2-40B4-BE49-F238E27FC236}">
                    <a16:creationId xmlns:a16="http://schemas.microsoft.com/office/drawing/2014/main" id="{FDD6F28E-29C0-5235-7F6D-CA907E5F8632}"/>
                  </a:ext>
                </a:extLst>
              </p:cNvPr>
              <p:cNvGrpSpPr/>
              <p:nvPr/>
            </p:nvGrpSpPr>
            <p:grpSpPr>
              <a:xfrm>
                <a:off x="3206519" y="2141924"/>
                <a:ext cx="4461196" cy="572600"/>
                <a:chOff x="319755" y="4468665"/>
                <a:chExt cx="2088994" cy="572600"/>
              </a:xfrm>
            </p:grpSpPr>
            <p:sp>
              <p:nvSpPr>
                <p:cNvPr id="61" name="TextBox 42">
                  <a:extLst>
                    <a:ext uri="{FF2B5EF4-FFF2-40B4-BE49-F238E27FC236}">
                      <a16:creationId xmlns:a16="http://schemas.microsoft.com/office/drawing/2014/main" id="{E6A76365-3306-5E5A-2A26-47B0057E38D9}"/>
                    </a:ext>
                  </a:extLst>
                </p:cNvPr>
                <p:cNvSpPr txBox="1"/>
                <p:nvPr/>
              </p:nvSpPr>
              <p:spPr>
                <a:xfrm>
                  <a:off x="319755" y="4468665"/>
                  <a:ext cx="2088993" cy="312969"/>
                </a:xfrm>
                <a:prstGeom prst="rect">
                  <a:avLst/>
                </a:prstGeom>
                <a:noFill/>
              </p:spPr>
              <p:txBody>
                <a:bodyPr wrap="square" lIns="0" rtlCol="0" anchor="b">
                  <a:spAutoFit/>
                </a:bodyPr>
                <a:lstStyle>
                  <a:defPPr>
                    <a:defRPr lang="fr-FR"/>
                  </a:defPPr>
                  <a:lvl1pPr marL="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7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54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3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09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886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6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4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1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100" b="1" noProof="1">
                      <a:solidFill>
                        <a:schemeClr val="accent4">
                          <a:lumMod val="75000"/>
                        </a:schemeClr>
                      </a:solidFill>
                    </a:rPr>
                    <a:t>Visual Studio Code (VSC)</a:t>
                  </a:r>
                </a:p>
              </p:txBody>
            </p:sp>
            <p:sp>
              <p:nvSpPr>
                <p:cNvPr id="62" name="Rectangle 61">
                  <a:extLst>
                    <a:ext uri="{FF2B5EF4-FFF2-40B4-BE49-F238E27FC236}">
                      <a16:creationId xmlns:a16="http://schemas.microsoft.com/office/drawing/2014/main" id="{8259CFE8-AD13-E87B-641B-9DB6ACAD92A1}"/>
                    </a:ext>
                  </a:extLst>
                </p:cNvPr>
                <p:cNvSpPr/>
                <p:nvPr/>
              </p:nvSpPr>
              <p:spPr>
                <a:xfrm>
                  <a:off x="319756" y="4765116"/>
                  <a:ext cx="2088993" cy="276149"/>
                </a:xfrm>
                <a:prstGeom prst="rect">
                  <a:avLst/>
                </a:prstGeom>
              </p:spPr>
              <p:txBody>
                <a:bodyPr wrap="square" lIns="0">
                  <a:spAutoFit/>
                </a:bodyPr>
                <a:lstStyle>
                  <a:defPPr>
                    <a:defRPr lang="fr-FR"/>
                  </a:defPPr>
                  <a:lvl1pPr marL="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7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54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3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09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886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62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40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18" algn="l" defTabSz="914354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900" noProof="1"/>
                    <a:t>Installation de la dotnet et de l’editeur de texte</a:t>
                  </a:r>
                </a:p>
              </p:txBody>
            </p:sp>
          </p:grpSp>
          <p:sp>
            <p:nvSpPr>
              <p:cNvPr id="63" name="Shape">
                <a:extLst>
                  <a:ext uri="{FF2B5EF4-FFF2-40B4-BE49-F238E27FC236}">
                    <a16:creationId xmlns:a16="http://schemas.microsoft.com/office/drawing/2014/main" id="{96A2D823-6DDD-B3F2-0090-0A0FB55C293F}"/>
                  </a:ext>
                </a:extLst>
              </p:cNvPr>
              <p:cNvSpPr/>
              <p:nvPr/>
            </p:nvSpPr>
            <p:spPr>
              <a:xfrm>
                <a:off x="7034126" y="2739726"/>
                <a:ext cx="2584243" cy="123953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82" h="21577" extrusionOk="0">
                    <a:moveTo>
                      <a:pt x="21005" y="4"/>
                    </a:moveTo>
                    <a:cubicBezTo>
                      <a:pt x="21131" y="-23"/>
                      <a:pt x="21242" y="110"/>
                      <a:pt x="21331" y="322"/>
                    </a:cubicBezTo>
                    <a:cubicBezTo>
                      <a:pt x="21420" y="535"/>
                      <a:pt x="21495" y="854"/>
                      <a:pt x="21532" y="1226"/>
                    </a:cubicBezTo>
                    <a:cubicBezTo>
                      <a:pt x="21576" y="1598"/>
                      <a:pt x="21591" y="2023"/>
                      <a:pt x="21576" y="2421"/>
                    </a:cubicBezTo>
                    <a:cubicBezTo>
                      <a:pt x="21561" y="2846"/>
                      <a:pt x="21517" y="3245"/>
                      <a:pt x="21428" y="3617"/>
                    </a:cubicBezTo>
                    <a:cubicBezTo>
                      <a:pt x="21124" y="4945"/>
                      <a:pt x="20827" y="6274"/>
                      <a:pt x="20538" y="7629"/>
                    </a:cubicBezTo>
                    <a:cubicBezTo>
                      <a:pt x="20249" y="8984"/>
                      <a:pt x="19967" y="10365"/>
                      <a:pt x="19693" y="11773"/>
                    </a:cubicBezTo>
                    <a:cubicBezTo>
                      <a:pt x="19418" y="13181"/>
                      <a:pt x="19151" y="14590"/>
                      <a:pt x="18892" y="15998"/>
                    </a:cubicBezTo>
                    <a:cubicBezTo>
                      <a:pt x="18632" y="17432"/>
                      <a:pt x="18380" y="18867"/>
                      <a:pt x="18128" y="20302"/>
                    </a:cubicBezTo>
                    <a:lnTo>
                      <a:pt x="3009" y="21577"/>
                    </a:lnTo>
                    <a:cubicBezTo>
                      <a:pt x="2786" y="20249"/>
                      <a:pt x="2564" y="18947"/>
                      <a:pt x="2334" y="17645"/>
                    </a:cubicBezTo>
                    <a:cubicBezTo>
                      <a:pt x="2104" y="16343"/>
                      <a:pt x="1867" y="15094"/>
                      <a:pt x="1630" y="13846"/>
                    </a:cubicBezTo>
                    <a:cubicBezTo>
                      <a:pt x="1392" y="12597"/>
                      <a:pt x="1148" y="11375"/>
                      <a:pt x="896" y="10179"/>
                    </a:cubicBezTo>
                    <a:cubicBezTo>
                      <a:pt x="644" y="8984"/>
                      <a:pt x="391" y="7815"/>
                      <a:pt x="132" y="6672"/>
                    </a:cubicBezTo>
                    <a:cubicBezTo>
                      <a:pt x="58" y="6353"/>
                      <a:pt x="21" y="5981"/>
                      <a:pt x="6" y="5609"/>
                    </a:cubicBezTo>
                    <a:cubicBezTo>
                      <a:pt x="-9" y="5238"/>
                      <a:pt x="6" y="4839"/>
                      <a:pt x="43" y="4494"/>
                    </a:cubicBezTo>
                    <a:cubicBezTo>
                      <a:pt x="80" y="4148"/>
                      <a:pt x="139" y="3829"/>
                      <a:pt x="213" y="3590"/>
                    </a:cubicBezTo>
                    <a:cubicBezTo>
                      <a:pt x="288" y="3351"/>
                      <a:pt x="384" y="3218"/>
                      <a:pt x="495" y="3192"/>
                    </a:cubicBezTo>
                    <a:lnTo>
                      <a:pt x="10342" y="1624"/>
                    </a:lnTo>
                    <a:lnTo>
                      <a:pt x="21005" y="4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38100" tIns="38100" rIns="38100" bIns="38100" anchor="ctr"/>
              <a:lstStyle>
                <a:defPPr>
                  <a:defRPr lang="fr-FR"/>
                </a:defPPr>
                <a:lvl1pPr marL="0" algn="l" defTabSz="914354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78" algn="l" defTabSz="914354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54" algn="l" defTabSz="914354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32" algn="l" defTabSz="914354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09" algn="l" defTabSz="914354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886" algn="l" defTabSz="914354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62" algn="l" defTabSz="914354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40" algn="l" defTabSz="914354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18" algn="l" defTabSz="914354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 sz="3000">
                    <a:solidFill>
                      <a:srgbClr val="FFFFFF"/>
                    </a:solidFill>
                  </a:defRPr>
                </a:pPr>
                <a:r>
                  <a:rPr lang="fr-CA" sz="20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Excel / VBA</a:t>
                </a:r>
                <a:endParaRPr sz="20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1024" name="Flèche : droite 1023">
                <a:extLst>
                  <a:ext uri="{FF2B5EF4-FFF2-40B4-BE49-F238E27FC236}">
                    <a16:creationId xmlns:a16="http://schemas.microsoft.com/office/drawing/2014/main" id="{0FA85629-1464-E1C8-1176-160D826BA980}"/>
                  </a:ext>
                </a:extLst>
              </p:cNvPr>
              <p:cNvSpPr/>
              <p:nvPr/>
            </p:nvSpPr>
            <p:spPr>
              <a:xfrm>
                <a:off x="5394054" y="3499504"/>
                <a:ext cx="1371376" cy="119147"/>
              </a:xfrm>
              <a:prstGeom prst="rightArrow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100"/>
              </a:p>
            </p:txBody>
          </p:sp>
        </p:grpSp>
        <p:sp>
          <p:nvSpPr>
            <p:cNvPr id="1026" name="Freeform: Shape 29">
              <a:extLst>
                <a:ext uri="{FF2B5EF4-FFF2-40B4-BE49-F238E27FC236}">
                  <a16:creationId xmlns:a16="http://schemas.microsoft.com/office/drawing/2014/main" id="{37F0E798-F265-6CE0-CA36-968A2357625A}"/>
                </a:ext>
              </a:extLst>
            </p:cNvPr>
            <p:cNvSpPr/>
            <p:nvPr/>
          </p:nvSpPr>
          <p:spPr>
            <a:xfrm>
              <a:off x="10494121" y="2140857"/>
              <a:ext cx="1471991" cy="556080"/>
            </a:xfrm>
            <a:custGeom>
              <a:avLst/>
              <a:gdLst>
                <a:gd name="connsiteX0" fmla="*/ 963542 w 2667589"/>
                <a:gd name="connsiteY0" fmla="*/ 0 h 1032239"/>
                <a:gd name="connsiteX1" fmla="*/ 2188668 w 2667589"/>
                <a:gd name="connsiteY1" fmla="*/ 120502 h 1032239"/>
                <a:gd name="connsiteX2" fmla="*/ 2667589 w 2667589"/>
                <a:gd name="connsiteY2" fmla="*/ 111789 h 1032239"/>
                <a:gd name="connsiteX3" fmla="*/ 2605134 w 2667589"/>
                <a:gd name="connsiteY3" fmla="*/ 222129 h 1032239"/>
                <a:gd name="connsiteX4" fmla="*/ 2463729 w 2667589"/>
                <a:gd name="connsiteY4" fmla="*/ 491196 h 1032239"/>
                <a:gd name="connsiteX5" fmla="*/ 2332152 w 2667589"/>
                <a:gd name="connsiteY5" fmla="*/ 758827 h 1032239"/>
                <a:gd name="connsiteX6" fmla="*/ 2209253 w 2667589"/>
                <a:gd name="connsiteY6" fmla="*/ 1025019 h 1032239"/>
                <a:gd name="connsiteX7" fmla="*/ 2205391 w 2667589"/>
                <a:gd name="connsiteY7" fmla="*/ 1032239 h 1032239"/>
                <a:gd name="connsiteX8" fmla="*/ 501554 w 2667589"/>
                <a:gd name="connsiteY8" fmla="*/ 1032239 h 1032239"/>
                <a:gd name="connsiteX9" fmla="*/ 387305 w 2667589"/>
                <a:gd name="connsiteY9" fmla="*/ 776415 h 1032239"/>
                <a:gd name="connsiteX10" fmla="*/ 265876 w 2667589"/>
                <a:gd name="connsiteY10" fmla="*/ 522083 h 1032239"/>
                <a:gd name="connsiteX11" fmla="*/ 137267 w 2667589"/>
                <a:gd name="connsiteY11" fmla="*/ 269145 h 1032239"/>
                <a:gd name="connsiteX12" fmla="*/ 0 w 2667589"/>
                <a:gd name="connsiteY12" fmla="*/ 20486 h 1032239"/>
                <a:gd name="connsiteX13" fmla="*/ 963542 w 2667589"/>
                <a:gd name="connsiteY13" fmla="*/ 0 h 1032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67589" h="1032239">
                  <a:moveTo>
                    <a:pt x="963542" y="0"/>
                  </a:moveTo>
                  <a:lnTo>
                    <a:pt x="2188668" y="120502"/>
                  </a:lnTo>
                  <a:lnTo>
                    <a:pt x="2667589" y="111789"/>
                  </a:lnTo>
                  <a:lnTo>
                    <a:pt x="2605134" y="222129"/>
                  </a:lnTo>
                  <a:cubicBezTo>
                    <a:pt x="2556510" y="312281"/>
                    <a:pt x="2509418" y="401044"/>
                    <a:pt x="2463729" y="491196"/>
                  </a:cubicBezTo>
                  <a:cubicBezTo>
                    <a:pt x="2417913" y="581348"/>
                    <a:pt x="2373629" y="670112"/>
                    <a:pt x="2332152" y="758827"/>
                  </a:cubicBezTo>
                  <a:cubicBezTo>
                    <a:pt x="2289271" y="847541"/>
                    <a:pt x="2249326" y="936305"/>
                    <a:pt x="2209253" y="1025019"/>
                  </a:cubicBezTo>
                  <a:lnTo>
                    <a:pt x="2205391" y="1032239"/>
                  </a:lnTo>
                  <a:lnTo>
                    <a:pt x="501554" y="1032239"/>
                  </a:lnTo>
                  <a:cubicBezTo>
                    <a:pt x="464386" y="946466"/>
                    <a:pt x="427218" y="862187"/>
                    <a:pt x="387305" y="776415"/>
                  </a:cubicBezTo>
                  <a:cubicBezTo>
                    <a:pt x="348659" y="692135"/>
                    <a:pt x="307268" y="606363"/>
                    <a:pt x="265876" y="522083"/>
                  </a:cubicBezTo>
                  <a:cubicBezTo>
                    <a:pt x="224274" y="437754"/>
                    <a:pt x="181404" y="353425"/>
                    <a:pt x="137267" y="269145"/>
                  </a:cubicBezTo>
                  <a:cubicBezTo>
                    <a:pt x="92919" y="186259"/>
                    <a:pt x="47093" y="101929"/>
                    <a:pt x="0" y="20486"/>
                  </a:cubicBezTo>
                  <a:lnTo>
                    <a:pt x="963542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38100" tIns="38100" rIns="540000" bIns="38100" anchor="ctr">
              <a:noAutofit/>
            </a:bodyPr>
            <a:lstStyle>
              <a:defPPr>
                <a:defRPr lang="fr-FR"/>
              </a:defPPr>
              <a:lvl1pPr marL="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4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 sz="3000">
                  <a:solidFill>
                    <a:srgbClr val="FFFFFF"/>
                  </a:solidFill>
                </a:defRPr>
              </a:pPr>
              <a:r>
                <a:rPr lang="fr-FR" sz="20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Web</a:t>
              </a:r>
              <a:endParaRPr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033" name="Shape">
              <a:extLst>
                <a:ext uri="{FF2B5EF4-FFF2-40B4-BE49-F238E27FC236}">
                  <a16:creationId xmlns:a16="http://schemas.microsoft.com/office/drawing/2014/main" id="{20E63DBD-85B3-5CAD-9548-B11333E2ACB2}"/>
                </a:ext>
              </a:extLst>
            </p:cNvPr>
            <p:cNvSpPr/>
            <p:nvPr/>
          </p:nvSpPr>
          <p:spPr>
            <a:xfrm>
              <a:off x="10522074" y="3585222"/>
              <a:ext cx="1521118" cy="575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cubicBezTo>
                    <a:pt x="21197" y="1790"/>
                    <a:pt x="20794" y="3610"/>
                    <a:pt x="20413" y="5400"/>
                  </a:cubicBezTo>
                  <a:cubicBezTo>
                    <a:pt x="20032" y="7219"/>
                    <a:pt x="19663" y="9010"/>
                    <a:pt x="19305" y="10829"/>
                  </a:cubicBezTo>
                  <a:cubicBezTo>
                    <a:pt x="18946" y="12648"/>
                    <a:pt x="18599" y="14439"/>
                    <a:pt x="18274" y="16229"/>
                  </a:cubicBezTo>
                  <a:cubicBezTo>
                    <a:pt x="17938" y="18019"/>
                    <a:pt x="17625" y="19810"/>
                    <a:pt x="17311" y="21600"/>
                  </a:cubicBezTo>
                  <a:lnTo>
                    <a:pt x="3930" y="21600"/>
                  </a:lnTo>
                  <a:cubicBezTo>
                    <a:pt x="3639" y="19896"/>
                    <a:pt x="3348" y="18164"/>
                    <a:pt x="3035" y="16431"/>
                  </a:cubicBezTo>
                  <a:cubicBezTo>
                    <a:pt x="2732" y="14698"/>
                    <a:pt x="2407" y="12995"/>
                    <a:pt x="2083" y="11291"/>
                  </a:cubicBezTo>
                  <a:cubicBezTo>
                    <a:pt x="1758" y="9587"/>
                    <a:pt x="1422" y="7883"/>
                    <a:pt x="1075" y="6180"/>
                  </a:cubicBezTo>
                  <a:cubicBezTo>
                    <a:pt x="728" y="4505"/>
                    <a:pt x="370" y="2801"/>
                    <a:pt x="0" y="1155"/>
                  </a:cubicBezTo>
                  <a:lnTo>
                    <a:pt x="2160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8100" tIns="38100" rIns="38100" bIns="38100" anchor="ctr"/>
            <a:lstStyle>
              <a:defPPr>
                <a:defRPr lang="fr-FR"/>
              </a:defPPr>
              <a:lvl1pPr marL="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4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 sz="3000">
                  <a:solidFill>
                    <a:srgbClr val="FFFFFF"/>
                  </a:solidFill>
                </a:defRPr>
              </a:pPr>
              <a:r>
                <a:rPr lang="fr-CA" sz="20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Excel</a:t>
              </a:r>
              <a:endParaRPr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grpSp>
          <p:nvGrpSpPr>
            <p:cNvPr id="1034" name="Groupe 1033">
              <a:extLst>
                <a:ext uri="{FF2B5EF4-FFF2-40B4-BE49-F238E27FC236}">
                  <a16:creationId xmlns:a16="http://schemas.microsoft.com/office/drawing/2014/main" id="{D62E6BE9-1C3D-2D2C-D8CB-99B58F32E1DF}"/>
                </a:ext>
              </a:extLst>
            </p:cNvPr>
            <p:cNvGrpSpPr/>
            <p:nvPr/>
          </p:nvGrpSpPr>
          <p:grpSpPr>
            <a:xfrm>
              <a:off x="8856736" y="2815045"/>
              <a:ext cx="1536885" cy="749984"/>
              <a:chOff x="5164201" y="2885237"/>
              <a:chExt cx="1396128" cy="1252963"/>
            </a:xfrm>
          </p:grpSpPr>
          <p:sp>
            <p:nvSpPr>
              <p:cNvPr id="1035" name="Flèche : droite 1034">
                <a:extLst>
                  <a:ext uri="{FF2B5EF4-FFF2-40B4-BE49-F238E27FC236}">
                    <a16:creationId xmlns:a16="http://schemas.microsoft.com/office/drawing/2014/main" id="{7B373C01-5432-F2AD-E01F-368C2721053F}"/>
                  </a:ext>
                </a:extLst>
              </p:cNvPr>
              <p:cNvSpPr/>
              <p:nvPr/>
            </p:nvSpPr>
            <p:spPr>
              <a:xfrm rot="20272672">
                <a:off x="5188953" y="2885237"/>
                <a:ext cx="1371376" cy="119146"/>
              </a:xfrm>
              <a:prstGeom prst="rightArrow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2000"/>
              </a:p>
            </p:txBody>
          </p:sp>
          <p:sp>
            <p:nvSpPr>
              <p:cNvPr id="1036" name="Flèche : droite 1035">
                <a:extLst>
                  <a:ext uri="{FF2B5EF4-FFF2-40B4-BE49-F238E27FC236}">
                    <a16:creationId xmlns:a16="http://schemas.microsoft.com/office/drawing/2014/main" id="{1318C71E-1BEC-CEB1-CA1F-40A8819B698B}"/>
                  </a:ext>
                </a:extLst>
              </p:cNvPr>
              <p:cNvSpPr/>
              <p:nvPr/>
            </p:nvSpPr>
            <p:spPr>
              <a:xfrm rot="1554599">
                <a:off x="5164201" y="4019054"/>
                <a:ext cx="1371376" cy="119146"/>
              </a:xfrm>
              <a:prstGeom prst="rightArrow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2000"/>
              </a:p>
            </p:txBody>
          </p:sp>
        </p:grpSp>
        <p:sp>
          <p:nvSpPr>
            <p:cNvPr id="1038" name="Shape">
              <a:extLst>
                <a:ext uri="{FF2B5EF4-FFF2-40B4-BE49-F238E27FC236}">
                  <a16:creationId xmlns:a16="http://schemas.microsoft.com/office/drawing/2014/main" id="{AF63790C-918A-5B24-1387-3C08B07F9B48}"/>
                </a:ext>
              </a:extLst>
            </p:cNvPr>
            <p:cNvSpPr/>
            <p:nvPr/>
          </p:nvSpPr>
          <p:spPr>
            <a:xfrm flipH="1">
              <a:off x="6979832" y="2598583"/>
              <a:ext cx="1730235" cy="10361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82" h="21577" extrusionOk="0">
                  <a:moveTo>
                    <a:pt x="21005" y="4"/>
                  </a:moveTo>
                  <a:cubicBezTo>
                    <a:pt x="21131" y="-23"/>
                    <a:pt x="21242" y="110"/>
                    <a:pt x="21331" y="322"/>
                  </a:cubicBezTo>
                  <a:cubicBezTo>
                    <a:pt x="21420" y="535"/>
                    <a:pt x="21495" y="854"/>
                    <a:pt x="21532" y="1226"/>
                  </a:cubicBezTo>
                  <a:cubicBezTo>
                    <a:pt x="21576" y="1598"/>
                    <a:pt x="21591" y="2023"/>
                    <a:pt x="21576" y="2421"/>
                  </a:cubicBezTo>
                  <a:cubicBezTo>
                    <a:pt x="21561" y="2846"/>
                    <a:pt x="21517" y="3245"/>
                    <a:pt x="21428" y="3617"/>
                  </a:cubicBezTo>
                  <a:cubicBezTo>
                    <a:pt x="21124" y="4945"/>
                    <a:pt x="20827" y="6274"/>
                    <a:pt x="20538" y="7629"/>
                  </a:cubicBezTo>
                  <a:cubicBezTo>
                    <a:pt x="20249" y="8984"/>
                    <a:pt x="19967" y="10365"/>
                    <a:pt x="19693" y="11773"/>
                  </a:cubicBezTo>
                  <a:cubicBezTo>
                    <a:pt x="19418" y="13181"/>
                    <a:pt x="19151" y="14590"/>
                    <a:pt x="18892" y="15998"/>
                  </a:cubicBezTo>
                  <a:cubicBezTo>
                    <a:pt x="18632" y="17432"/>
                    <a:pt x="18380" y="18867"/>
                    <a:pt x="18128" y="20302"/>
                  </a:cubicBezTo>
                  <a:lnTo>
                    <a:pt x="3009" y="21577"/>
                  </a:lnTo>
                  <a:cubicBezTo>
                    <a:pt x="2786" y="20249"/>
                    <a:pt x="2564" y="18947"/>
                    <a:pt x="2334" y="17645"/>
                  </a:cubicBezTo>
                  <a:cubicBezTo>
                    <a:pt x="2104" y="16343"/>
                    <a:pt x="1867" y="15094"/>
                    <a:pt x="1630" y="13846"/>
                  </a:cubicBezTo>
                  <a:cubicBezTo>
                    <a:pt x="1392" y="12597"/>
                    <a:pt x="1148" y="11375"/>
                    <a:pt x="896" y="10179"/>
                  </a:cubicBezTo>
                  <a:cubicBezTo>
                    <a:pt x="644" y="8984"/>
                    <a:pt x="391" y="7815"/>
                    <a:pt x="132" y="6672"/>
                  </a:cubicBezTo>
                  <a:cubicBezTo>
                    <a:pt x="58" y="6353"/>
                    <a:pt x="21" y="5981"/>
                    <a:pt x="6" y="5609"/>
                  </a:cubicBezTo>
                  <a:cubicBezTo>
                    <a:pt x="-9" y="5238"/>
                    <a:pt x="6" y="4839"/>
                    <a:pt x="43" y="4494"/>
                  </a:cubicBezTo>
                  <a:cubicBezTo>
                    <a:pt x="80" y="4148"/>
                    <a:pt x="139" y="3829"/>
                    <a:pt x="213" y="3590"/>
                  </a:cubicBezTo>
                  <a:cubicBezTo>
                    <a:pt x="288" y="3351"/>
                    <a:pt x="384" y="3218"/>
                    <a:pt x="495" y="3192"/>
                  </a:cubicBezTo>
                  <a:lnTo>
                    <a:pt x="10342" y="1624"/>
                  </a:lnTo>
                  <a:lnTo>
                    <a:pt x="21005" y="4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8100" tIns="38100" rIns="38100" bIns="38100" anchor="ctr"/>
            <a:lstStyle>
              <a:defPPr>
                <a:defRPr lang="fr-FR"/>
              </a:defPPr>
              <a:lvl1pPr marL="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4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2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8" algn="l" defTabSz="914354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 sz="3000">
                  <a:solidFill>
                    <a:srgbClr val="FFFFFF"/>
                  </a:solidFill>
                </a:defRPr>
              </a:pPr>
              <a:r>
                <a:rPr lang="fr-CA" sz="20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Mise en production</a:t>
              </a:r>
            </a:p>
          </p:txBody>
        </p:sp>
        <p:sp>
          <p:nvSpPr>
            <p:cNvPr id="1039" name="Flèche : droite 1038">
              <a:extLst>
                <a:ext uri="{FF2B5EF4-FFF2-40B4-BE49-F238E27FC236}">
                  <a16:creationId xmlns:a16="http://schemas.microsoft.com/office/drawing/2014/main" id="{003F6F74-36C5-EF5C-30B3-FF98135A5183}"/>
                </a:ext>
              </a:extLst>
            </p:cNvPr>
            <p:cNvSpPr/>
            <p:nvPr/>
          </p:nvSpPr>
          <p:spPr>
            <a:xfrm>
              <a:off x="6412525" y="3171743"/>
              <a:ext cx="612000" cy="99595"/>
            </a:xfrm>
            <a:prstGeom prst="rightArrow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100"/>
            </a:p>
          </p:txBody>
        </p:sp>
      </p:grpSp>
      <p:grpSp>
        <p:nvGrpSpPr>
          <p:cNvPr id="1044" name="Groupe 1043">
            <a:extLst>
              <a:ext uri="{FF2B5EF4-FFF2-40B4-BE49-F238E27FC236}">
                <a16:creationId xmlns:a16="http://schemas.microsoft.com/office/drawing/2014/main" id="{84601187-67D3-F6AB-E79D-4F24682F23FD}"/>
              </a:ext>
            </a:extLst>
          </p:cNvPr>
          <p:cNvGrpSpPr/>
          <p:nvPr/>
        </p:nvGrpSpPr>
        <p:grpSpPr>
          <a:xfrm>
            <a:off x="3831897" y="3537601"/>
            <a:ext cx="539348" cy="823278"/>
            <a:chOff x="5484005" y="3811025"/>
            <a:chExt cx="216000" cy="376371"/>
          </a:xfrm>
        </p:grpSpPr>
        <p:sp>
          <p:nvSpPr>
            <p:cNvPr id="1042" name="Ellipse 1041">
              <a:extLst>
                <a:ext uri="{FF2B5EF4-FFF2-40B4-BE49-F238E27FC236}">
                  <a16:creationId xmlns:a16="http://schemas.microsoft.com/office/drawing/2014/main" id="{60AC9825-BCFB-521A-C39B-7D86DBE70D97}"/>
                </a:ext>
              </a:extLst>
            </p:cNvPr>
            <p:cNvSpPr/>
            <p:nvPr/>
          </p:nvSpPr>
          <p:spPr>
            <a:xfrm>
              <a:off x="5484005" y="3971396"/>
              <a:ext cx="216000" cy="21600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100"/>
                </a:lnSpc>
              </a:pPr>
              <a:r>
                <a:rPr lang="fr-FR" sz="1200" b="1" dirty="0"/>
                <a:t>dll</a:t>
              </a:r>
            </a:p>
          </p:txBody>
        </p:sp>
        <p:cxnSp>
          <p:nvCxnSpPr>
            <p:cNvPr id="1043" name="Connecteur droit 1042">
              <a:extLst>
                <a:ext uri="{FF2B5EF4-FFF2-40B4-BE49-F238E27FC236}">
                  <a16:creationId xmlns:a16="http://schemas.microsoft.com/office/drawing/2014/main" id="{3BA0743F-8694-5F5F-F0C4-A31FAC905B2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96012" y="3811025"/>
              <a:ext cx="0" cy="172205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48" name="Groupe 1047">
            <a:extLst>
              <a:ext uri="{FF2B5EF4-FFF2-40B4-BE49-F238E27FC236}">
                <a16:creationId xmlns:a16="http://schemas.microsoft.com/office/drawing/2014/main" id="{4634516A-4B8B-9C2F-4D3C-94FA6B142DAC}"/>
              </a:ext>
            </a:extLst>
          </p:cNvPr>
          <p:cNvGrpSpPr/>
          <p:nvPr/>
        </p:nvGrpSpPr>
        <p:grpSpPr>
          <a:xfrm>
            <a:off x="6107041" y="3470667"/>
            <a:ext cx="1210204" cy="951187"/>
            <a:chOff x="5484005" y="3811025"/>
            <a:chExt cx="216000" cy="376371"/>
          </a:xfrm>
        </p:grpSpPr>
        <p:sp>
          <p:nvSpPr>
            <p:cNvPr id="1049" name="Ellipse 1048">
              <a:extLst>
                <a:ext uri="{FF2B5EF4-FFF2-40B4-BE49-F238E27FC236}">
                  <a16:creationId xmlns:a16="http://schemas.microsoft.com/office/drawing/2014/main" id="{43250AF9-1ACF-656F-A31B-6BFA237C4FE7}"/>
                </a:ext>
              </a:extLst>
            </p:cNvPr>
            <p:cNvSpPr/>
            <p:nvPr/>
          </p:nvSpPr>
          <p:spPr>
            <a:xfrm>
              <a:off x="5484005" y="3971396"/>
              <a:ext cx="216000" cy="216000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100"/>
                </a:lnSpc>
              </a:pPr>
              <a:r>
                <a:rPr lang="fr-FR" sz="1200" b="1" dirty="0"/>
                <a:t>Validateur</a:t>
              </a:r>
            </a:p>
          </p:txBody>
        </p:sp>
        <p:cxnSp>
          <p:nvCxnSpPr>
            <p:cNvPr id="1050" name="Connecteur droit 1049">
              <a:extLst>
                <a:ext uri="{FF2B5EF4-FFF2-40B4-BE49-F238E27FC236}">
                  <a16:creationId xmlns:a16="http://schemas.microsoft.com/office/drawing/2014/main" id="{CD72F950-C7DC-3917-17E5-EFD8192F619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96012" y="3811025"/>
              <a:ext cx="0" cy="172205"/>
            </a:xfrm>
            <a:prstGeom prst="line">
              <a:avLst/>
            </a:prstGeom>
            <a:ln/>
          </p:spPr>
          <p:style>
            <a:lnRef idx="1">
              <a:schemeClr val="accent6">
                <a:lumMod val="67000"/>
              </a:schemeClr>
            </a:lnRef>
            <a:fillRef idx="0">
              <a:schemeClr val="accent6">
                <a:lumMod val="67000"/>
              </a:schemeClr>
            </a:fillRef>
            <a:effectRef idx="0">
              <a:schemeClr val="accent6">
                <a:lumMod val="67000"/>
              </a:schemeClr>
            </a:effectRef>
            <a:fontRef idx="minor">
              <a:schemeClr val="tx1"/>
            </a:fontRef>
          </p:style>
        </p:cxnSp>
      </p:grpSp>
      <p:pic>
        <p:nvPicPr>
          <p:cNvPr id="1051" name="Image 1050" descr="Une image contenant clipart, dessin humoristique, illustration&#10;&#10;Description générée automatiquement">
            <a:extLst>
              <a:ext uri="{FF2B5EF4-FFF2-40B4-BE49-F238E27FC236}">
                <a16:creationId xmlns:a16="http://schemas.microsoft.com/office/drawing/2014/main" id="{F3AF4410-22EC-6A64-7BD6-FDCA71773BD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288" y="4236528"/>
            <a:ext cx="1663609" cy="124637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0307653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oneTexte 11">
            <a:extLst>
              <a:ext uri="{FF2B5EF4-FFF2-40B4-BE49-F238E27FC236}">
                <a16:creationId xmlns:a16="http://schemas.microsoft.com/office/drawing/2014/main" id="{B340E6D9-44AA-6AB5-0F07-60256CE35EDE}"/>
              </a:ext>
            </a:extLst>
          </p:cNvPr>
          <p:cNvSpPr txBox="1"/>
          <p:nvPr/>
        </p:nvSpPr>
        <p:spPr>
          <a:xfrm>
            <a:off x="1598213" y="0"/>
            <a:ext cx="301329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 LEVEL REVIEW OF PROJECT FINANCING </a:t>
            </a:r>
          </a:p>
        </p:txBody>
      </p:sp>
      <p:sp>
        <p:nvSpPr>
          <p:cNvPr id="9" name="Titre 2">
            <a:extLst>
              <a:ext uri="{FF2B5EF4-FFF2-40B4-BE49-F238E27FC236}">
                <a16:creationId xmlns:a16="http://schemas.microsoft.com/office/drawing/2014/main" id="{5136A549-C8A8-E827-61FD-714AD3EF6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9451"/>
            <a:ext cx="10581860" cy="720000"/>
          </a:xfrm>
        </p:spPr>
        <p:txBody>
          <a:bodyPr>
            <a:normAutofit/>
          </a:bodyPr>
          <a:lstStyle/>
          <a:p>
            <a:r>
              <a:rPr lang="en-GB" sz="2400" b="1" cap="small" dirty="0">
                <a:solidFill>
                  <a:schemeClr val="tx1">
                    <a:lumMod val="95000"/>
                    <a:lumOff val="5000"/>
                  </a:schemeClr>
                </a:solidFill>
              </a:rPr>
              <a:t>Pricing des options</a:t>
            </a:r>
            <a:endParaRPr lang="en-GB" sz="2200" b="1" cap="small" dirty="0">
              <a:solidFill>
                <a:schemeClr val="accent2"/>
              </a:solidFill>
            </a:endParaRPr>
          </a:p>
        </p:txBody>
      </p:sp>
      <p:pic>
        <p:nvPicPr>
          <p:cNvPr id="37" name="Graphique 36" descr="Badge 1 avec un remplissage uni">
            <a:extLst>
              <a:ext uri="{FF2B5EF4-FFF2-40B4-BE49-F238E27FC236}">
                <a16:creationId xmlns:a16="http://schemas.microsoft.com/office/drawing/2014/main" id="{5B111208-0B8C-52D0-9CB9-26F2C5E7875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386001" y="-1352476"/>
            <a:ext cx="163049" cy="163049"/>
          </a:xfrm>
          <a:prstGeom prst="rect">
            <a:avLst/>
          </a:prstGeom>
        </p:spPr>
      </p:pic>
      <p:pic>
        <p:nvPicPr>
          <p:cNvPr id="1027" name="Picture 3">
            <a:hlinkClick r:id="rId5"/>
            <a:extLst>
              <a:ext uri="{FF2B5EF4-FFF2-40B4-BE49-F238E27FC236}">
                <a16:creationId xmlns:a16="http://schemas.microsoft.com/office/drawing/2014/main" id="{862B73E8-08F8-C1E0-53CE-12A5254433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5663" y="-14636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C1E4903A-3482-1C0D-0AEB-0CC9B12CCFB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" y="898901"/>
            <a:ext cx="12191999" cy="6048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7756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BE164D-624B-E780-5884-B3D1D334C3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oneTexte 11">
            <a:extLst>
              <a:ext uri="{FF2B5EF4-FFF2-40B4-BE49-F238E27FC236}">
                <a16:creationId xmlns:a16="http://schemas.microsoft.com/office/drawing/2014/main" id="{33338B93-6C09-989E-9414-22E017B47012}"/>
              </a:ext>
            </a:extLst>
          </p:cNvPr>
          <p:cNvSpPr txBox="1"/>
          <p:nvPr/>
        </p:nvSpPr>
        <p:spPr>
          <a:xfrm>
            <a:off x="1598213" y="0"/>
            <a:ext cx="301329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 LEVEL REVIEW OF PROJECT FINANCING </a:t>
            </a:r>
          </a:p>
        </p:txBody>
      </p:sp>
      <p:sp>
        <p:nvSpPr>
          <p:cNvPr id="9" name="Titre 2">
            <a:extLst>
              <a:ext uri="{FF2B5EF4-FFF2-40B4-BE49-F238E27FC236}">
                <a16:creationId xmlns:a16="http://schemas.microsoft.com/office/drawing/2014/main" id="{E68880BA-0B30-35F8-0B50-9EAA654EE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9451"/>
            <a:ext cx="10581860" cy="720000"/>
          </a:xfrm>
        </p:spPr>
        <p:txBody>
          <a:bodyPr>
            <a:normAutofit/>
          </a:bodyPr>
          <a:lstStyle/>
          <a:p>
            <a:r>
              <a:rPr lang="en-GB" sz="2400" b="1" cap="small" dirty="0">
                <a:solidFill>
                  <a:schemeClr val="tx1">
                    <a:lumMod val="95000"/>
                    <a:lumOff val="5000"/>
                  </a:schemeClr>
                </a:solidFill>
              </a:rPr>
              <a:t>Pricing des options - web</a:t>
            </a:r>
            <a:endParaRPr lang="en-GB" sz="2200" b="1" cap="small" dirty="0">
              <a:solidFill>
                <a:schemeClr val="accent2"/>
              </a:solidFill>
            </a:endParaRPr>
          </a:p>
        </p:txBody>
      </p:sp>
      <p:pic>
        <p:nvPicPr>
          <p:cNvPr id="37" name="Graphique 36" descr="Badge 1 avec un remplissage uni">
            <a:extLst>
              <a:ext uri="{FF2B5EF4-FFF2-40B4-BE49-F238E27FC236}">
                <a16:creationId xmlns:a16="http://schemas.microsoft.com/office/drawing/2014/main" id="{ECC464E8-3683-E293-72AA-B2DEFE99D8C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386001" y="-1352476"/>
            <a:ext cx="163049" cy="163049"/>
          </a:xfrm>
          <a:prstGeom prst="rect">
            <a:avLst/>
          </a:prstGeom>
        </p:spPr>
      </p:pic>
      <p:pic>
        <p:nvPicPr>
          <p:cNvPr id="1027" name="Picture 3">
            <a:hlinkClick r:id="rId5"/>
            <a:extLst>
              <a:ext uri="{FF2B5EF4-FFF2-40B4-BE49-F238E27FC236}">
                <a16:creationId xmlns:a16="http://schemas.microsoft.com/office/drawing/2014/main" id="{5DD9EF7F-4CCF-1F2D-DAC6-A376F3975C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5663" y="-14636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C5610566-5C88-FE9C-6556-AB3ECE2CC1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618" y="997190"/>
            <a:ext cx="11396329" cy="5199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05067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604631-921E-0A08-3CBC-3818DFBD1E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oneTexte 11">
            <a:extLst>
              <a:ext uri="{FF2B5EF4-FFF2-40B4-BE49-F238E27FC236}">
                <a16:creationId xmlns:a16="http://schemas.microsoft.com/office/drawing/2014/main" id="{15DFB65F-C05C-37DA-BEFB-A87F6A387FE8}"/>
              </a:ext>
            </a:extLst>
          </p:cNvPr>
          <p:cNvSpPr txBox="1"/>
          <p:nvPr/>
        </p:nvSpPr>
        <p:spPr>
          <a:xfrm>
            <a:off x="1598213" y="0"/>
            <a:ext cx="301329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 LEVEL REVIEW OF PROJECT FINANCING </a:t>
            </a:r>
          </a:p>
        </p:txBody>
      </p:sp>
      <p:sp>
        <p:nvSpPr>
          <p:cNvPr id="9" name="Titre 2">
            <a:extLst>
              <a:ext uri="{FF2B5EF4-FFF2-40B4-BE49-F238E27FC236}">
                <a16:creationId xmlns:a16="http://schemas.microsoft.com/office/drawing/2014/main" id="{09938AF9-7E53-52CC-0490-0F826D6245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9451"/>
            <a:ext cx="10581860" cy="720000"/>
          </a:xfrm>
        </p:spPr>
        <p:txBody>
          <a:bodyPr>
            <a:normAutofit/>
          </a:bodyPr>
          <a:lstStyle/>
          <a:p>
            <a:r>
              <a:rPr lang="en-GB" sz="2400" b="1" cap="small" dirty="0">
                <a:solidFill>
                  <a:schemeClr val="tx1">
                    <a:lumMod val="95000"/>
                    <a:lumOff val="5000"/>
                  </a:schemeClr>
                </a:solidFill>
              </a:rPr>
              <a:t>Pricing des CDS/CDO</a:t>
            </a:r>
            <a:endParaRPr lang="en-GB" sz="2200" b="1" cap="small" dirty="0">
              <a:solidFill>
                <a:schemeClr val="accent2"/>
              </a:solidFill>
            </a:endParaRPr>
          </a:p>
        </p:txBody>
      </p:sp>
      <p:pic>
        <p:nvPicPr>
          <p:cNvPr id="37" name="Graphique 36" descr="Badge 1 avec un remplissage uni">
            <a:extLst>
              <a:ext uri="{FF2B5EF4-FFF2-40B4-BE49-F238E27FC236}">
                <a16:creationId xmlns:a16="http://schemas.microsoft.com/office/drawing/2014/main" id="{F63E0E65-679B-39D0-FD8D-2A6C1D784A6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386001" y="-1352476"/>
            <a:ext cx="163049" cy="163049"/>
          </a:xfrm>
          <a:prstGeom prst="rect">
            <a:avLst/>
          </a:prstGeom>
        </p:spPr>
      </p:pic>
      <p:pic>
        <p:nvPicPr>
          <p:cNvPr id="1027" name="Picture 3">
            <a:hlinkClick r:id="rId5"/>
            <a:extLst>
              <a:ext uri="{FF2B5EF4-FFF2-40B4-BE49-F238E27FC236}">
                <a16:creationId xmlns:a16="http://schemas.microsoft.com/office/drawing/2014/main" id="{2C921A29-970B-E797-F52A-5B804D2200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5663" y="-14636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reeform: Shape 29">
            <a:extLst>
              <a:ext uri="{FF2B5EF4-FFF2-40B4-BE49-F238E27FC236}">
                <a16:creationId xmlns:a16="http://schemas.microsoft.com/office/drawing/2014/main" id="{270EF95D-76B5-F482-912C-6AF5C990EB99}"/>
              </a:ext>
            </a:extLst>
          </p:cNvPr>
          <p:cNvSpPr/>
          <p:nvPr/>
        </p:nvSpPr>
        <p:spPr>
          <a:xfrm>
            <a:off x="5227903" y="2797335"/>
            <a:ext cx="2147281" cy="995272"/>
          </a:xfrm>
          <a:custGeom>
            <a:avLst/>
            <a:gdLst>
              <a:gd name="connsiteX0" fmla="*/ 963542 w 2667589"/>
              <a:gd name="connsiteY0" fmla="*/ 0 h 1032239"/>
              <a:gd name="connsiteX1" fmla="*/ 2188668 w 2667589"/>
              <a:gd name="connsiteY1" fmla="*/ 120502 h 1032239"/>
              <a:gd name="connsiteX2" fmla="*/ 2667589 w 2667589"/>
              <a:gd name="connsiteY2" fmla="*/ 111789 h 1032239"/>
              <a:gd name="connsiteX3" fmla="*/ 2605134 w 2667589"/>
              <a:gd name="connsiteY3" fmla="*/ 222129 h 1032239"/>
              <a:gd name="connsiteX4" fmla="*/ 2463729 w 2667589"/>
              <a:gd name="connsiteY4" fmla="*/ 491196 h 1032239"/>
              <a:gd name="connsiteX5" fmla="*/ 2332152 w 2667589"/>
              <a:gd name="connsiteY5" fmla="*/ 758827 h 1032239"/>
              <a:gd name="connsiteX6" fmla="*/ 2209253 w 2667589"/>
              <a:gd name="connsiteY6" fmla="*/ 1025019 h 1032239"/>
              <a:gd name="connsiteX7" fmla="*/ 2205391 w 2667589"/>
              <a:gd name="connsiteY7" fmla="*/ 1032239 h 1032239"/>
              <a:gd name="connsiteX8" fmla="*/ 501554 w 2667589"/>
              <a:gd name="connsiteY8" fmla="*/ 1032239 h 1032239"/>
              <a:gd name="connsiteX9" fmla="*/ 387305 w 2667589"/>
              <a:gd name="connsiteY9" fmla="*/ 776415 h 1032239"/>
              <a:gd name="connsiteX10" fmla="*/ 265876 w 2667589"/>
              <a:gd name="connsiteY10" fmla="*/ 522083 h 1032239"/>
              <a:gd name="connsiteX11" fmla="*/ 137267 w 2667589"/>
              <a:gd name="connsiteY11" fmla="*/ 269145 h 1032239"/>
              <a:gd name="connsiteX12" fmla="*/ 0 w 2667589"/>
              <a:gd name="connsiteY12" fmla="*/ 20486 h 1032239"/>
              <a:gd name="connsiteX13" fmla="*/ 963542 w 2667589"/>
              <a:gd name="connsiteY13" fmla="*/ 0 h 1032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667589" h="1032239">
                <a:moveTo>
                  <a:pt x="963542" y="0"/>
                </a:moveTo>
                <a:lnTo>
                  <a:pt x="2188668" y="120502"/>
                </a:lnTo>
                <a:lnTo>
                  <a:pt x="2667589" y="111789"/>
                </a:lnTo>
                <a:lnTo>
                  <a:pt x="2605134" y="222129"/>
                </a:lnTo>
                <a:cubicBezTo>
                  <a:pt x="2556510" y="312281"/>
                  <a:pt x="2509418" y="401044"/>
                  <a:pt x="2463729" y="491196"/>
                </a:cubicBezTo>
                <a:cubicBezTo>
                  <a:pt x="2417913" y="581348"/>
                  <a:pt x="2373629" y="670112"/>
                  <a:pt x="2332152" y="758827"/>
                </a:cubicBezTo>
                <a:cubicBezTo>
                  <a:pt x="2289271" y="847541"/>
                  <a:pt x="2249326" y="936305"/>
                  <a:pt x="2209253" y="1025019"/>
                </a:cubicBezTo>
                <a:lnTo>
                  <a:pt x="2205391" y="1032239"/>
                </a:lnTo>
                <a:lnTo>
                  <a:pt x="501554" y="1032239"/>
                </a:lnTo>
                <a:cubicBezTo>
                  <a:pt x="464386" y="946466"/>
                  <a:pt x="427218" y="862187"/>
                  <a:pt x="387305" y="776415"/>
                </a:cubicBezTo>
                <a:cubicBezTo>
                  <a:pt x="348659" y="692135"/>
                  <a:pt x="307268" y="606363"/>
                  <a:pt x="265876" y="522083"/>
                </a:cubicBezTo>
                <a:cubicBezTo>
                  <a:pt x="224274" y="437754"/>
                  <a:pt x="181404" y="353425"/>
                  <a:pt x="137267" y="269145"/>
                </a:cubicBezTo>
                <a:cubicBezTo>
                  <a:pt x="92919" y="186259"/>
                  <a:pt x="47093" y="101929"/>
                  <a:pt x="0" y="20486"/>
                </a:cubicBezTo>
                <a:lnTo>
                  <a:pt x="96354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38100" tIns="38100" rIns="540000" bIns="38100" anchor="ctr">
            <a:noAutofit/>
          </a:bodyPr>
          <a:lstStyle>
            <a:defPPr>
              <a:defRPr lang="fr-FR"/>
            </a:defPPr>
            <a:lvl1pPr marL="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7675" algn="ctr">
              <a:defRPr sz="3000">
                <a:solidFill>
                  <a:srgbClr val="FFFFFF"/>
                </a:solidFill>
              </a:defRPr>
            </a:pPr>
            <a:r>
              <a:rPr lang="fr-FR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/>
              </a:rPr>
              <a:t>Default </a:t>
            </a:r>
            <a:r>
              <a:rPr lang="fr-FR" sz="16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/>
              </a:rPr>
              <a:t>Probabilities</a:t>
            </a: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267C5060-BED2-CD1A-655E-129F20FBADEC}"/>
              </a:ext>
            </a:extLst>
          </p:cNvPr>
          <p:cNvGrpSpPr/>
          <p:nvPr/>
        </p:nvGrpSpPr>
        <p:grpSpPr>
          <a:xfrm>
            <a:off x="7631761" y="2844355"/>
            <a:ext cx="1408227" cy="1178974"/>
            <a:chOff x="4514060" y="2969521"/>
            <a:chExt cx="1398319" cy="1100490"/>
          </a:xfrm>
          <a:solidFill>
            <a:schemeClr val="bg2">
              <a:lumMod val="50000"/>
            </a:schemeClr>
          </a:solidFill>
        </p:grpSpPr>
        <p:sp>
          <p:nvSpPr>
            <p:cNvPr id="5" name="Flèche : droite 4">
              <a:extLst>
                <a:ext uri="{FF2B5EF4-FFF2-40B4-BE49-F238E27FC236}">
                  <a16:creationId xmlns:a16="http://schemas.microsoft.com/office/drawing/2014/main" id="{40365D75-C084-8F62-F933-3E0DEE58DB3F}"/>
                </a:ext>
              </a:extLst>
            </p:cNvPr>
            <p:cNvSpPr/>
            <p:nvPr/>
          </p:nvSpPr>
          <p:spPr>
            <a:xfrm rot="20272672">
              <a:off x="4540979" y="2969521"/>
              <a:ext cx="1371400" cy="134414"/>
            </a:xfrm>
            <a:prstGeom prst="rightArrow">
              <a:avLst/>
            </a:prstGeom>
            <a:grpFill/>
            <a:ln>
              <a:noFill/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/>
            </a:p>
          </p:txBody>
        </p:sp>
        <p:sp>
          <p:nvSpPr>
            <p:cNvPr id="7" name="Flèche : droite 6">
              <a:extLst>
                <a:ext uri="{FF2B5EF4-FFF2-40B4-BE49-F238E27FC236}">
                  <a16:creationId xmlns:a16="http://schemas.microsoft.com/office/drawing/2014/main" id="{6E0EBF98-0D33-5588-3A52-6A4D9620700C}"/>
                </a:ext>
              </a:extLst>
            </p:cNvPr>
            <p:cNvSpPr/>
            <p:nvPr/>
          </p:nvSpPr>
          <p:spPr>
            <a:xfrm rot="1554599">
              <a:off x="4514059" y="3935605"/>
              <a:ext cx="1371413" cy="134414"/>
            </a:xfrm>
            <a:prstGeom prst="rightArrow">
              <a:avLst/>
            </a:prstGeom>
            <a:grpFill/>
            <a:ln>
              <a:noFill/>
            </a:ln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/>
            </a:p>
          </p:txBody>
        </p:sp>
      </p:grpSp>
      <p:sp>
        <p:nvSpPr>
          <p:cNvPr id="8" name="Shape">
            <a:extLst>
              <a:ext uri="{FF2B5EF4-FFF2-40B4-BE49-F238E27FC236}">
                <a16:creationId xmlns:a16="http://schemas.microsoft.com/office/drawing/2014/main" id="{8E67D94E-14BB-0392-42C1-22CA9184E070}"/>
              </a:ext>
            </a:extLst>
          </p:cNvPr>
          <p:cNvSpPr/>
          <p:nvPr/>
        </p:nvSpPr>
        <p:spPr>
          <a:xfrm flipH="1">
            <a:off x="685505" y="2444154"/>
            <a:ext cx="2245762" cy="17099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2" h="21577" extrusionOk="0">
                <a:moveTo>
                  <a:pt x="21005" y="4"/>
                </a:moveTo>
                <a:cubicBezTo>
                  <a:pt x="21131" y="-23"/>
                  <a:pt x="21242" y="110"/>
                  <a:pt x="21331" y="322"/>
                </a:cubicBezTo>
                <a:cubicBezTo>
                  <a:pt x="21420" y="535"/>
                  <a:pt x="21495" y="854"/>
                  <a:pt x="21532" y="1226"/>
                </a:cubicBezTo>
                <a:cubicBezTo>
                  <a:pt x="21576" y="1598"/>
                  <a:pt x="21591" y="2023"/>
                  <a:pt x="21576" y="2421"/>
                </a:cubicBezTo>
                <a:cubicBezTo>
                  <a:pt x="21561" y="2846"/>
                  <a:pt x="21517" y="3245"/>
                  <a:pt x="21428" y="3617"/>
                </a:cubicBezTo>
                <a:cubicBezTo>
                  <a:pt x="21124" y="4945"/>
                  <a:pt x="20827" y="6274"/>
                  <a:pt x="20538" y="7629"/>
                </a:cubicBezTo>
                <a:cubicBezTo>
                  <a:pt x="20249" y="8984"/>
                  <a:pt x="19967" y="10365"/>
                  <a:pt x="19693" y="11773"/>
                </a:cubicBezTo>
                <a:cubicBezTo>
                  <a:pt x="19418" y="13181"/>
                  <a:pt x="19151" y="14590"/>
                  <a:pt x="18892" y="15998"/>
                </a:cubicBezTo>
                <a:cubicBezTo>
                  <a:pt x="18632" y="17432"/>
                  <a:pt x="18380" y="18867"/>
                  <a:pt x="18128" y="20302"/>
                </a:cubicBezTo>
                <a:lnTo>
                  <a:pt x="3009" y="21577"/>
                </a:lnTo>
                <a:cubicBezTo>
                  <a:pt x="2786" y="20249"/>
                  <a:pt x="2564" y="18947"/>
                  <a:pt x="2334" y="17645"/>
                </a:cubicBezTo>
                <a:cubicBezTo>
                  <a:pt x="2104" y="16343"/>
                  <a:pt x="1867" y="15094"/>
                  <a:pt x="1630" y="13846"/>
                </a:cubicBezTo>
                <a:cubicBezTo>
                  <a:pt x="1392" y="12597"/>
                  <a:pt x="1148" y="11375"/>
                  <a:pt x="896" y="10179"/>
                </a:cubicBezTo>
                <a:cubicBezTo>
                  <a:pt x="644" y="8984"/>
                  <a:pt x="391" y="7815"/>
                  <a:pt x="132" y="6672"/>
                </a:cubicBezTo>
                <a:cubicBezTo>
                  <a:pt x="58" y="6353"/>
                  <a:pt x="21" y="5981"/>
                  <a:pt x="6" y="5609"/>
                </a:cubicBezTo>
                <a:cubicBezTo>
                  <a:pt x="-9" y="5238"/>
                  <a:pt x="6" y="4839"/>
                  <a:pt x="43" y="4494"/>
                </a:cubicBezTo>
                <a:cubicBezTo>
                  <a:pt x="80" y="4148"/>
                  <a:pt x="139" y="3829"/>
                  <a:pt x="213" y="3590"/>
                </a:cubicBezTo>
                <a:cubicBezTo>
                  <a:pt x="288" y="3351"/>
                  <a:pt x="384" y="3218"/>
                  <a:pt x="495" y="3192"/>
                </a:cubicBezTo>
                <a:lnTo>
                  <a:pt x="10342" y="1624"/>
                </a:lnTo>
                <a:lnTo>
                  <a:pt x="21005" y="4"/>
                </a:lnTo>
                <a:close/>
              </a:path>
            </a:pathLst>
          </a:cu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8100" tIns="38100" rIns="38100" bIns="38100" anchor="ctr"/>
          <a:lstStyle>
            <a:defPPr>
              <a:defRPr lang="fr-FR"/>
            </a:defPPr>
            <a:lvl1pPr marL="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3000">
                <a:solidFill>
                  <a:srgbClr val="FFFFFF"/>
                </a:solidFill>
              </a:defRPr>
            </a:pPr>
            <a:r>
              <a:rPr lang="fr-CA" sz="1600" b="1" dirty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ripping IRS </a:t>
            </a:r>
          </a:p>
          <a:p>
            <a:pPr algn="ctr">
              <a:defRPr sz="3000">
                <a:solidFill>
                  <a:srgbClr val="FFFFFF"/>
                </a:solidFill>
              </a:defRPr>
            </a:pPr>
            <a:r>
              <a:rPr lang="fr-CA" sz="1600" b="1" dirty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UR : USD : JPY</a:t>
            </a:r>
          </a:p>
        </p:txBody>
      </p:sp>
      <p:sp>
        <p:nvSpPr>
          <p:cNvPr id="15" name="Flèche : droite 14">
            <a:extLst>
              <a:ext uri="{FF2B5EF4-FFF2-40B4-BE49-F238E27FC236}">
                <a16:creationId xmlns:a16="http://schemas.microsoft.com/office/drawing/2014/main" id="{071F4950-084E-AED0-B0CD-C655602EDF2E}"/>
              </a:ext>
            </a:extLst>
          </p:cNvPr>
          <p:cNvSpPr/>
          <p:nvPr/>
        </p:nvSpPr>
        <p:spPr>
          <a:xfrm>
            <a:off x="3010779" y="3284343"/>
            <a:ext cx="1952630" cy="144000"/>
          </a:xfrm>
          <a:prstGeom prst="rightArrow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/>
          </a:p>
        </p:txBody>
      </p:sp>
      <p:sp>
        <p:nvSpPr>
          <p:cNvPr id="16" name="Freeform: Shape 29">
            <a:extLst>
              <a:ext uri="{FF2B5EF4-FFF2-40B4-BE49-F238E27FC236}">
                <a16:creationId xmlns:a16="http://schemas.microsoft.com/office/drawing/2014/main" id="{21099713-60E4-0D9A-CB39-F05341A14200}"/>
              </a:ext>
            </a:extLst>
          </p:cNvPr>
          <p:cNvSpPr/>
          <p:nvPr/>
        </p:nvSpPr>
        <p:spPr>
          <a:xfrm>
            <a:off x="9507379" y="1556957"/>
            <a:ext cx="1882699" cy="995272"/>
          </a:xfrm>
          <a:custGeom>
            <a:avLst/>
            <a:gdLst>
              <a:gd name="connsiteX0" fmla="*/ 963542 w 2667589"/>
              <a:gd name="connsiteY0" fmla="*/ 0 h 1032239"/>
              <a:gd name="connsiteX1" fmla="*/ 2188668 w 2667589"/>
              <a:gd name="connsiteY1" fmla="*/ 120502 h 1032239"/>
              <a:gd name="connsiteX2" fmla="*/ 2667589 w 2667589"/>
              <a:gd name="connsiteY2" fmla="*/ 111789 h 1032239"/>
              <a:gd name="connsiteX3" fmla="*/ 2605134 w 2667589"/>
              <a:gd name="connsiteY3" fmla="*/ 222129 h 1032239"/>
              <a:gd name="connsiteX4" fmla="*/ 2463729 w 2667589"/>
              <a:gd name="connsiteY4" fmla="*/ 491196 h 1032239"/>
              <a:gd name="connsiteX5" fmla="*/ 2332152 w 2667589"/>
              <a:gd name="connsiteY5" fmla="*/ 758827 h 1032239"/>
              <a:gd name="connsiteX6" fmla="*/ 2209253 w 2667589"/>
              <a:gd name="connsiteY6" fmla="*/ 1025019 h 1032239"/>
              <a:gd name="connsiteX7" fmla="*/ 2205391 w 2667589"/>
              <a:gd name="connsiteY7" fmla="*/ 1032239 h 1032239"/>
              <a:gd name="connsiteX8" fmla="*/ 501554 w 2667589"/>
              <a:gd name="connsiteY8" fmla="*/ 1032239 h 1032239"/>
              <a:gd name="connsiteX9" fmla="*/ 387305 w 2667589"/>
              <a:gd name="connsiteY9" fmla="*/ 776415 h 1032239"/>
              <a:gd name="connsiteX10" fmla="*/ 265876 w 2667589"/>
              <a:gd name="connsiteY10" fmla="*/ 522083 h 1032239"/>
              <a:gd name="connsiteX11" fmla="*/ 137267 w 2667589"/>
              <a:gd name="connsiteY11" fmla="*/ 269145 h 1032239"/>
              <a:gd name="connsiteX12" fmla="*/ 0 w 2667589"/>
              <a:gd name="connsiteY12" fmla="*/ 20486 h 1032239"/>
              <a:gd name="connsiteX13" fmla="*/ 963542 w 2667589"/>
              <a:gd name="connsiteY13" fmla="*/ 0 h 1032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667589" h="1032239">
                <a:moveTo>
                  <a:pt x="963542" y="0"/>
                </a:moveTo>
                <a:lnTo>
                  <a:pt x="2188668" y="120502"/>
                </a:lnTo>
                <a:lnTo>
                  <a:pt x="2667589" y="111789"/>
                </a:lnTo>
                <a:lnTo>
                  <a:pt x="2605134" y="222129"/>
                </a:lnTo>
                <a:cubicBezTo>
                  <a:pt x="2556510" y="312281"/>
                  <a:pt x="2509418" y="401044"/>
                  <a:pt x="2463729" y="491196"/>
                </a:cubicBezTo>
                <a:cubicBezTo>
                  <a:pt x="2417913" y="581348"/>
                  <a:pt x="2373629" y="670112"/>
                  <a:pt x="2332152" y="758827"/>
                </a:cubicBezTo>
                <a:cubicBezTo>
                  <a:pt x="2289271" y="847541"/>
                  <a:pt x="2249326" y="936305"/>
                  <a:pt x="2209253" y="1025019"/>
                </a:cubicBezTo>
                <a:lnTo>
                  <a:pt x="2205391" y="1032239"/>
                </a:lnTo>
                <a:lnTo>
                  <a:pt x="501554" y="1032239"/>
                </a:lnTo>
                <a:cubicBezTo>
                  <a:pt x="464386" y="946466"/>
                  <a:pt x="427218" y="862187"/>
                  <a:pt x="387305" y="776415"/>
                </a:cubicBezTo>
                <a:cubicBezTo>
                  <a:pt x="348659" y="692135"/>
                  <a:pt x="307268" y="606363"/>
                  <a:pt x="265876" y="522083"/>
                </a:cubicBezTo>
                <a:cubicBezTo>
                  <a:pt x="224274" y="437754"/>
                  <a:pt x="181404" y="353425"/>
                  <a:pt x="137267" y="269145"/>
                </a:cubicBezTo>
                <a:cubicBezTo>
                  <a:pt x="92919" y="186259"/>
                  <a:pt x="47093" y="101929"/>
                  <a:pt x="0" y="20486"/>
                </a:cubicBezTo>
                <a:lnTo>
                  <a:pt x="963542" y="0"/>
                </a:lnTo>
                <a:close/>
              </a:path>
            </a:pathLst>
          </a:cu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38100" tIns="38100" rIns="540000" bIns="38100" anchor="ctr">
            <a:noAutofit/>
          </a:bodyPr>
          <a:lstStyle>
            <a:defPPr>
              <a:defRPr lang="fr-FR"/>
            </a:defPPr>
            <a:lvl1pPr marL="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7675" algn="ctr">
              <a:defRPr sz="3000">
                <a:solidFill>
                  <a:srgbClr val="FFFFFF"/>
                </a:solidFill>
              </a:defRPr>
            </a:pPr>
            <a:r>
              <a:rPr lang="fr-FR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DS: NPV</a:t>
            </a:r>
            <a:endParaRPr lang="fr-FR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Calibri"/>
            </a:endParaRPr>
          </a:p>
          <a:p>
            <a:pPr marL="447675" algn="ctr">
              <a:defRPr sz="3000">
                <a:solidFill>
                  <a:srgbClr val="FFFFFF"/>
                </a:solidFill>
              </a:defRPr>
            </a:pPr>
            <a:r>
              <a:rPr lang="fr-FR" sz="16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loat</a:t>
            </a:r>
            <a:r>
              <a:rPr lang="fr-FR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Leg</a:t>
            </a:r>
          </a:p>
          <a:p>
            <a:pPr marL="447675" algn="ctr">
              <a:defRPr sz="3000">
                <a:solidFill>
                  <a:srgbClr val="FFFFFF"/>
                </a:solidFill>
              </a:defRPr>
            </a:pPr>
            <a:r>
              <a:rPr lang="fr-FR" sz="16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ixed</a:t>
            </a:r>
            <a:r>
              <a:rPr lang="fr-FR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leg</a:t>
            </a:r>
            <a:endParaRPr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17C92092-4483-E17F-3A8D-B82E99AE8B56}"/>
              </a:ext>
            </a:extLst>
          </p:cNvPr>
          <p:cNvSpPr/>
          <p:nvPr/>
        </p:nvSpPr>
        <p:spPr>
          <a:xfrm>
            <a:off x="9678685" y="4213265"/>
            <a:ext cx="1945533" cy="10306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21197" y="1790"/>
                  <a:pt x="20794" y="3610"/>
                  <a:pt x="20413" y="5400"/>
                </a:cubicBezTo>
                <a:cubicBezTo>
                  <a:pt x="20032" y="7219"/>
                  <a:pt x="19663" y="9010"/>
                  <a:pt x="19305" y="10829"/>
                </a:cubicBezTo>
                <a:cubicBezTo>
                  <a:pt x="18946" y="12648"/>
                  <a:pt x="18599" y="14439"/>
                  <a:pt x="18274" y="16229"/>
                </a:cubicBezTo>
                <a:cubicBezTo>
                  <a:pt x="17938" y="18019"/>
                  <a:pt x="17625" y="19810"/>
                  <a:pt x="17311" y="21600"/>
                </a:cubicBezTo>
                <a:lnTo>
                  <a:pt x="3930" y="21600"/>
                </a:lnTo>
                <a:cubicBezTo>
                  <a:pt x="3639" y="19896"/>
                  <a:pt x="3348" y="18164"/>
                  <a:pt x="3035" y="16431"/>
                </a:cubicBezTo>
                <a:cubicBezTo>
                  <a:pt x="2732" y="14698"/>
                  <a:pt x="2407" y="12995"/>
                  <a:pt x="2083" y="11291"/>
                </a:cubicBezTo>
                <a:cubicBezTo>
                  <a:pt x="1758" y="9587"/>
                  <a:pt x="1422" y="7883"/>
                  <a:pt x="1075" y="6180"/>
                </a:cubicBezTo>
                <a:cubicBezTo>
                  <a:pt x="728" y="4505"/>
                  <a:pt x="370" y="2801"/>
                  <a:pt x="0" y="1155"/>
                </a:cubicBezTo>
                <a:lnTo>
                  <a:pt x="2160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8100" tIns="38100" rIns="38100" bIns="38100" anchor="ctr"/>
          <a:lstStyle>
            <a:defPPr>
              <a:defRPr lang="fr-FR"/>
            </a:defPPr>
            <a:lvl1pPr marL="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3000">
                <a:solidFill>
                  <a:srgbClr val="FFFFFF"/>
                </a:solidFill>
              </a:defRPr>
            </a:pPr>
            <a:r>
              <a:rPr lang="fr-CA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DO</a:t>
            </a:r>
            <a:endParaRPr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04D50C27-AFA6-76DE-D248-B52474C07047}"/>
              </a:ext>
            </a:extLst>
          </p:cNvPr>
          <p:cNvCxnSpPr>
            <a:cxnSpLocks/>
          </p:cNvCxnSpPr>
          <p:nvPr/>
        </p:nvCxnSpPr>
        <p:spPr>
          <a:xfrm flipV="1">
            <a:off x="10400940" y="2613888"/>
            <a:ext cx="0" cy="360000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71786869-A331-4654-86C8-1417155A69BD}"/>
              </a:ext>
            </a:extLst>
          </p:cNvPr>
          <p:cNvCxnSpPr>
            <a:cxnSpLocks/>
          </p:cNvCxnSpPr>
          <p:nvPr/>
        </p:nvCxnSpPr>
        <p:spPr>
          <a:xfrm flipH="1" flipV="1">
            <a:off x="10437982" y="3757464"/>
            <a:ext cx="21166" cy="332220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1" name="Ellipse 30">
            <a:extLst>
              <a:ext uri="{FF2B5EF4-FFF2-40B4-BE49-F238E27FC236}">
                <a16:creationId xmlns:a16="http://schemas.microsoft.com/office/drawing/2014/main" id="{7CF5721E-B737-0483-F153-A01200D7B3B3}"/>
              </a:ext>
            </a:extLst>
          </p:cNvPr>
          <p:cNvSpPr/>
          <p:nvPr/>
        </p:nvSpPr>
        <p:spPr>
          <a:xfrm>
            <a:off x="3684801" y="3568318"/>
            <a:ext cx="798880" cy="472481"/>
          </a:xfrm>
          <a:prstGeom prst="ellipse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100"/>
              </a:lnSpc>
            </a:pPr>
            <a:r>
              <a:rPr lang="fr-FR" sz="1200" b="1" dirty="0" err="1">
                <a:solidFill>
                  <a:sysClr val="windowText" lastClr="000000"/>
                </a:solidFill>
              </a:rPr>
              <a:t>Done</a:t>
            </a:r>
            <a:endParaRPr lang="fr-FR" sz="1200" b="1" dirty="0">
              <a:solidFill>
                <a:sysClr val="windowText" lastClr="000000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E68B75FD-74DC-D3BC-C26E-EB0FEF83C4D3}"/>
              </a:ext>
            </a:extLst>
          </p:cNvPr>
          <p:cNvSpPr/>
          <p:nvPr/>
        </p:nvSpPr>
        <p:spPr>
          <a:xfrm>
            <a:off x="10108883" y="3092068"/>
            <a:ext cx="798880" cy="472481"/>
          </a:xfrm>
          <a:prstGeom prst="ellipse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100"/>
              </a:lnSpc>
            </a:pPr>
            <a:r>
              <a:rPr lang="fr-FR" sz="1200" b="1" dirty="0" err="1">
                <a:solidFill>
                  <a:sysClr val="windowText" lastClr="000000"/>
                </a:solidFill>
              </a:rPr>
              <a:t>Done</a:t>
            </a:r>
            <a:endParaRPr lang="fr-FR" sz="1200" b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96453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 GENERIQUE AXIS ALTERNATIV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ENGIE_Orange">
  <a:themeElements>
    <a:clrScheme name="ENGIE">
      <a:dk1>
        <a:srgbClr val="424242"/>
      </a:dk1>
      <a:lt1>
        <a:sysClr val="window" lastClr="FFFFFF"/>
      </a:lt1>
      <a:dk2>
        <a:srgbClr val="000000"/>
      </a:dk2>
      <a:lt2>
        <a:srgbClr val="B1B1B1"/>
      </a:lt2>
      <a:accent1>
        <a:srgbClr val="00AAFF"/>
      </a:accent1>
      <a:accent2>
        <a:srgbClr val="0078BE"/>
      </a:accent2>
      <a:accent3>
        <a:srgbClr val="910F7D"/>
      </a:accent3>
      <a:accent4>
        <a:srgbClr val="F07D00"/>
      </a:accent4>
      <a:accent5>
        <a:srgbClr val="E62D87"/>
      </a:accent5>
      <a:accent6>
        <a:srgbClr val="007873"/>
      </a:accent6>
      <a:hlink>
        <a:srgbClr val="424242"/>
      </a:hlink>
      <a:folHlink>
        <a:srgbClr val="42424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07D00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0C3445D92FF64C90BEDA786BB92BAA" ma:contentTypeVersion="4" ma:contentTypeDescription="Crée un document." ma:contentTypeScope="" ma:versionID="ca9647640649e8d4f4f2adb5e41ea933">
  <xsd:schema xmlns:xsd="http://www.w3.org/2001/XMLSchema" xmlns:xs="http://www.w3.org/2001/XMLSchema" xmlns:p="http://schemas.microsoft.com/office/2006/metadata/properties" xmlns:ns2="4f7a0b9b-fb61-4a33-83df-160f9d458c15" targetNamespace="http://schemas.microsoft.com/office/2006/metadata/properties" ma:root="true" ma:fieldsID="288535d1f24fc2209bf521a4f2af9c88" ns2:_="">
    <xsd:import namespace="4f7a0b9b-fb61-4a33-83df-160f9d458c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7a0b9b-fb61-4a33-83df-160f9d458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2640E51-6458-4574-AFA2-13587B14010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f7a0b9b-fb61-4a33-83df-160f9d458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C356C5B-105C-448C-8159-AAD308E84E0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6E7D64D-FA49-4ADF-A8E6-59FB9044F2BE}">
  <ds:schemaRefs>
    <ds:schemaRef ds:uri="http://purl.org/dc/dcmitype/"/>
    <ds:schemaRef ds:uri="http://purl.org/dc/terms/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4</TotalTime>
  <Words>338</Words>
  <Application>Microsoft Office PowerPoint</Application>
  <PresentationFormat>Grand écran</PresentationFormat>
  <Paragraphs>101</Paragraphs>
  <Slides>12</Slides>
  <Notes>8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2</vt:i4>
      </vt:variant>
    </vt:vector>
  </HeadingPairs>
  <TitlesOfParts>
    <vt:vector size="21" baseType="lpstr">
      <vt:lpstr>Arial</vt:lpstr>
      <vt:lpstr>Calibri</vt:lpstr>
      <vt:lpstr>Calibri Light</vt:lpstr>
      <vt:lpstr>Century Gothic</vt:lpstr>
      <vt:lpstr>Courier New</vt:lpstr>
      <vt:lpstr>Wingdings</vt:lpstr>
      <vt:lpstr>THEME GENERIQUE AXIS ALTERNATIVE</vt:lpstr>
      <vt:lpstr>2_ENGIE_Orange</vt:lpstr>
      <vt:lpstr>Diapositive think-cell</vt:lpstr>
      <vt:lpstr>Présentation PowerPoint</vt:lpstr>
      <vt:lpstr>Sommaire</vt:lpstr>
      <vt:lpstr>Objectifs du pricer</vt:lpstr>
      <vt:lpstr>Environment de travail</vt:lpstr>
      <vt:lpstr>Déploiement de travail</vt:lpstr>
      <vt:lpstr>Déploiement de travail</vt:lpstr>
      <vt:lpstr>Pricing des options</vt:lpstr>
      <vt:lpstr>Pricing des options - web</vt:lpstr>
      <vt:lpstr>Pricing des CDS/CDO</vt:lpstr>
      <vt:lpstr>Pricing des cds</vt:lpstr>
      <vt:lpstr>Next Step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IGFOOT</dc:creator>
  <cp:lastModifiedBy>BADUET Line</cp:lastModifiedBy>
  <cp:revision>71</cp:revision>
  <cp:lastPrinted>2020-02-26T09:49:34Z</cp:lastPrinted>
  <dcterms:created xsi:type="dcterms:W3CDTF">2020-02-25T14:53:18Z</dcterms:created>
  <dcterms:modified xsi:type="dcterms:W3CDTF">2024-03-26T16:4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80C3445D92FF64C90BEDA786BB92BAA</vt:lpwstr>
  </property>
  <property fmtid="{D5CDD505-2E9C-101B-9397-08002B2CF9AE}" pid="3" name="MSIP_Label_7dd18aa4-ed64-4d59-b931-5ad635491991_Enabled">
    <vt:lpwstr>true</vt:lpwstr>
  </property>
  <property fmtid="{D5CDD505-2E9C-101B-9397-08002B2CF9AE}" pid="4" name="MSIP_Label_7dd18aa4-ed64-4d59-b931-5ad635491991_SetDate">
    <vt:lpwstr>2023-12-28T09:56:15Z</vt:lpwstr>
  </property>
  <property fmtid="{D5CDD505-2E9C-101B-9397-08002B2CF9AE}" pid="5" name="MSIP_Label_7dd18aa4-ed64-4d59-b931-5ad635491991_Method">
    <vt:lpwstr>Privileged</vt:lpwstr>
  </property>
  <property fmtid="{D5CDD505-2E9C-101B-9397-08002B2CF9AE}" pid="6" name="MSIP_Label_7dd18aa4-ed64-4d59-b931-5ad635491991_Name">
    <vt:lpwstr>Standard</vt:lpwstr>
  </property>
  <property fmtid="{D5CDD505-2E9C-101B-9397-08002B2CF9AE}" pid="7" name="MSIP_Label_7dd18aa4-ed64-4d59-b931-5ad635491991_SiteId">
    <vt:lpwstr>d5bb6d35-8a82-4329-b49a-5030bd6497ab</vt:lpwstr>
  </property>
  <property fmtid="{D5CDD505-2E9C-101B-9397-08002B2CF9AE}" pid="8" name="MSIP_Label_7dd18aa4-ed64-4d59-b931-5ad635491991_ActionId">
    <vt:lpwstr>5eb50a66-657e-48f0-ab6e-c79898b5294b</vt:lpwstr>
  </property>
  <property fmtid="{D5CDD505-2E9C-101B-9397-08002B2CF9AE}" pid="9" name="MSIP_Label_7dd18aa4-ed64-4d59-b931-5ad635491991_ContentBits">
    <vt:lpwstr>0</vt:lpwstr>
  </property>
</Properties>
</file>